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</p:sldMasterIdLst>
  <p:notesMasterIdLst>
    <p:notesMasterId r:id="rId14"/>
  </p:notesMasterIdLst>
  <p:sldIdLst>
    <p:sldId id="311" r:id="rId3"/>
    <p:sldId id="302" r:id="rId4"/>
    <p:sldId id="278" r:id="rId5"/>
    <p:sldId id="312" r:id="rId6"/>
    <p:sldId id="313" r:id="rId7"/>
    <p:sldId id="275" r:id="rId8"/>
    <p:sldId id="310" r:id="rId9"/>
    <p:sldId id="307" r:id="rId10"/>
    <p:sldId id="276" r:id="rId11"/>
    <p:sldId id="290" r:id="rId12"/>
    <p:sldId id="305" r:id="rId13"/>
  </p:sldIdLst>
  <p:sldSz cx="12192000" cy="6858000"/>
  <p:notesSz cx="6858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FDFDF"/>
    <a:srgbClr val="D9E3BC"/>
    <a:srgbClr val="E9EED6"/>
    <a:srgbClr val="E7DCAE"/>
    <a:srgbClr val="FFFFCC"/>
    <a:srgbClr val="00FFFF"/>
    <a:srgbClr val="FF7C80"/>
    <a:srgbClr val="A50021"/>
    <a:srgbClr val="FF3300"/>
    <a:srgbClr val="E6DB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108" d="100"/>
          <a:sy n="108" d="100"/>
        </p:scale>
        <p:origin x="120" y="22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9ADAD8-A299-4F81-9681-841D3765C802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C2756F-AF8A-4DAA-AA38-9DF4740DEAA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6816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A94547-B751-47D3-BE12-6646377B9839}" type="slidenum"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45373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A94547-B751-47D3-BE12-6646377B9839}" type="slidenum"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92465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A94547-B751-47D3-BE12-6646377B9839}" type="slidenum"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47098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C920E0-9C34-4283-B8EA-3F9565A177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F9701C47-7CBA-4512-AAD9-5FD3ADC4B8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5F75EEF-DDE2-40D6-953F-27EDC78E3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A297AF4-8355-4F26-B668-DE1BEFA0B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24D8B2C-E155-4D17-ADB9-74D48474A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79953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C194C85-B3F3-40E4-A561-D827E54F5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0EE8FDC9-5CE6-4618-A9DB-FF7D3D7F55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22096D6-71C3-4DC9-9E97-43D3EA44F2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84DABD6-F6C6-4754-9337-9ECB7AB2D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6E43781-8398-4ED5-849B-1BE59C6AA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3730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06282175-AF37-4DDC-BD92-CC40B35312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C8B7583-185C-472C-93B4-8AF3A04BE2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9FC4549-3C1E-478D-9079-C3CE58398D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487D6E0-126C-47F2-9AEB-FEE1B3918F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1A31D2E-67BB-43C2-9B90-B733102CB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525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5209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8148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286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9814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3602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7151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5965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348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4F0D1DB-6051-4845-9D11-5CB3A605E1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A7EA347-C6AA-4C89-9452-3DFE3F9FD8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C33C57A-1A6D-4BB4-AA82-23149EC08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577F9B3-925D-4068-B044-A2D64DE9F4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BB27EA1-FD1A-4FD7-B7AC-EBE02773CB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09504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2800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4622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0838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1DC431A-1B76-4CCF-A6F6-01572379FD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D0B269F-47F3-4B10-8F9F-F61208EA93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A764BD8-A821-443B-A902-06E054F00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C9B7A2C-601A-45F5-AA2C-32387E07E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0505BD0-F073-4757-B44C-61D27EE87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5480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C233DDF-BE99-4A25-ADA8-F4A63B939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B3A09F5-91E6-4050-80F4-7D8C365724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9D9E8CF-561C-4D81-B8D8-FC0C0F1267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6A2F55A-C150-41A2-B5B9-C85F222EC1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3F8FEE5B-92DA-4CC7-BBE4-A9A718E81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E4F9AAE-387B-4C87-B5F7-90FC379FD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39314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FA61018-9C3C-44F5-AA42-36C7A17D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17C6EB7-3B7C-48CD-B0FF-71EC29E08D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9E5418D-64FF-47DC-BBE1-3319FB252E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404D7378-4CB1-47DD-BF34-D0B3916834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D9EDD54C-E857-40C2-B99E-819A0060280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58CA238C-A1DD-487B-8D42-EFE3DAE54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886FED72-2A99-45AE-9935-564B75674E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B5485435-314B-4491-A881-3E82B94073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0814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F1B776-9C23-46E0-8395-494F1D457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E4DEDE8-5E00-42E0-897C-EBF6AD685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EB5402E-B247-4626-AF26-031A162898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150A918-98DE-41EE-92A3-E780602A38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19731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A2302CB8-95AF-4B32-A7AE-2D6B42776F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4F130D2-C692-4E1E-99E2-A59443B6D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0325C49-6657-41EA-8089-C59F42306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9784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EBD6DE1-0601-4EC4-80B9-B31AC1575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5174457-6AE9-4EF8-863D-0559488C13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238A40F-94F0-4AF9-A906-4BAF73CCD59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8384869E-E5FB-4BC6-A757-082A33593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E6E7024-4505-428F-8F4F-FDED01E39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F2F56E1-2890-4A70-870C-1E3EE6223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3452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922F6C-578F-4C30-A421-000D2BAA6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3B086663-4725-4AD0-9305-A19D9C09F3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F68B0BEB-7742-4E42-BF5A-B8B319135B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D278BBA8-C44E-4793-9E03-91B916ABE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2BCB610-0628-4A99-AB48-5D93E0FC9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7823B773-8D42-4E68-913E-1084F33FF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1841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C550187A-A967-4731-B2E6-8A5B8B4BD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9ACCE1F-6D61-4AD1-AD58-E179502CF3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B83E56F-76B6-4F5C-9B86-60B1E033AD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B551167-47E9-4191-8B35-F18538FC3F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4E95A29-9905-46B2-B873-5A178AD172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8645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319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90000"/>
            <a:lum/>
          </a:blip>
          <a:srcRect/>
          <a:stretch>
            <a:fillRect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16">
            <a:extLst>
              <a:ext uri="{FF2B5EF4-FFF2-40B4-BE49-F238E27FC236}">
                <a16:creationId xmlns:a16="http://schemas.microsoft.com/office/drawing/2014/main" id="{4E154123-DEBA-47B9-9722-AD3161CFD623}"/>
              </a:ext>
            </a:extLst>
          </p:cNvPr>
          <p:cNvSpPr/>
          <p:nvPr/>
        </p:nvSpPr>
        <p:spPr>
          <a:xfrm>
            <a:off x="1222931" y="2640234"/>
            <a:ext cx="10126983" cy="118892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  <a:alpha val="0"/>
                </a:schemeClr>
              </a:gs>
              <a:gs pos="69000">
                <a:schemeClr val="tx1">
                  <a:lumMod val="85000"/>
                  <a:lumOff val="15000"/>
                  <a:alpha val="59000"/>
                </a:schemeClr>
              </a:gs>
              <a:gs pos="27000">
                <a:schemeClr val="tx1">
                  <a:lumMod val="85000"/>
                  <a:lumOff val="15000"/>
                  <a:alpha val="59000"/>
                </a:schemeClr>
              </a:gs>
              <a:gs pos="100000">
                <a:schemeClr val="tx1">
                  <a:lumMod val="50000"/>
                  <a:lumOff val="50000"/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B2603DE-E4D6-452E-B1E9-F732BA442742}"/>
              </a:ext>
            </a:extLst>
          </p:cNvPr>
          <p:cNvSpPr/>
          <p:nvPr/>
        </p:nvSpPr>
        <p:spPr>
          <a:xfrm>
            <a:off x="5332316" y="2623839"/>
            <a:ext cx="954107" cy="5061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cs"/>
              </a:rPr>
              <a:t>图表篇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Normal" panose="020B0400000000000000" pitchFamily="34" charset="-122"/>
              <a:ea typeface="思源黑体 CN Normal" panose="020B0400000000000000" pitchFamily="34" charset="-122"/>
              <a:cs typeface="+mn-cs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4E96C171-EEBE-4E8F-BABA-0E1C16B8C1A4}"/>
              </a:ext>
            </a:extLst>
          </p:cNvPr>
          <p:cNvCxnSpPr>
            <a:cxnSpLocks/>
          </p:cNvCxnSpPr>
          <p:nvPr/>
        </p:nvCxnSpPr>
        <p:spPr>
          <a:xfrm>
            <a:off x="5305559" y="2748216"/>
            <a:ext cx="0" cy="956032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2351D4B2-AE9A-4AD5-9A83-7870F4DAF8E1}"/>
              </a:ext>
            </a:extLst>
          </p:cNvPr>
          <p:cNvCxnSpPr>
            <a:cxnSpLocks/>
          </p:cNvCxnSpPr>
          <p:nvPr/>
        </p:nvCxnSpPr>
        <p:spPr>
          <a:xfrm>
            <a:off x="5305559" y="3138327"/>
            <a:ext cx="3450367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>
            <a:extLst>
              <a:ext uri="{FF2B5EF4-FFF2-40B4-BE49-F238E27FC236}">
                <a16:creationId xmlns:a16="http://schemas.microsoft.com/office/drawing/2014/main" id="{550E3886-A09D-4C5C-9D4E-6BF42C230D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1260" y="2868698"/>
            <a:ext cx="1053102" cy="7320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E5193BB7-1C61-488D-BD42-2894373D0663}"/>
              </a:ext>
            </a:extLst>
          </p:cNvPr>
          <p:cNvSpPr txBox="1"/>
          <p:nvPr/>
        </p:nvSpPr>
        <p:spPr>
          <a:xfrm>
            <a:off x="5332316" y="3183032"/>
            <a:ext cx="5281475" cy="584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zh-CN" altLang="en-US" sz="32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耦合关系</a:t>
            </a:r>
            <a:endParaRPr lang="en-US" altLang="zh-CN" sz="3200" dirty="0">
              <a:solidFill>
                <a:schemeClr val="bg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74140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>
            <a:extLst>
              <a:ext uri="{FF2B5EF4-FFF2-40B4-BE49-F238E27FC236}">
                <a16:creationId xmlns:a16="http://schemas.microsoft.com/office/drawing/2014/main" id="{846F6A2B-9A55-4D7F-B14B-18DAA3C64359}"/>
              </a:ext>
            </a:extLst>
          </p:cNvPr>
          <p:cNvSpPr>
            <a:spLocks/>
          </p:cNvSpPr>
          <p:nvPr/>
        </p:nvSpPr>
        <p:spPr bwMode="auto">
          <a:xfrm>
            <a:off x="3483670" y="2002115"/>
            <a:ext cx="4606925" cy="4884737"/>
          </a:xfrm>
          <a:custGeom>
            <a:avLst/>
            <a:gdLst/>
            <a:ahLst/>
            <a:cxnLst>
              <a:cxn ang="0">
                <a:pos x="534" y="1813"/>
              </a:cxn>
              <a:cxn ang="0">
                <a:pos x="439" y="1553"/>
              </a:cxn>
              <a:cxn ang="0">
                <a:pos x="148" y="1532"/>
              </a:cxn>
              <a:cxn ang="0">
                <a:pos x="135" y="1370"/>
              </a:cxn>
              <a:cxn ang="0">
                <a:pos x="109" y="1290"/>
              </a:cxn>
              <a:cxn ang="0">
                <a:pos x="109" y="1154"/>
              </a:cxn>
              <a:cxn ang="0">
                <a:pos x="5" y="1059"/>
              </a:cxn>
              <a:cxn ang="0">
                <a:pos x="136" y="870"/>
              </a:cxn>
              <a:cxn ang="0">
                <a:pos x="343" y="190"/>
              </a:cxn>
              <a:cxn ang="0">
                <a:pos x="1150" y="116"/>
              </a:cxn>
              <a:cxn ang="0">
                <a:pos x="1461" y="453"/>
              </a:cxn>
              <a:cxn ang="0">
                <a:pos x="1451" y="937"/>
              </a:cxn>
              <a:cxn ang="0">
                <a:pos x="1173" y="1321"/>
              </a:cxn>
              <a:cxn ang="0">
                <a:pos x="1301" y="1807"/>
              </a:cxn>
              <a:cxn ang="0">
                <a:pos x="534" y="1813"/>
              </a:cxn>
            </a:cxnLst>
            <a:rect l="0" t="0" r="r" b="b"/>
            <a:pathLst>
              <a:path w="1522" h="1813">
                <a:moveTo>
                  <a:pt x="534" y="1813"/>
                </a:moveTo>
                <a:cubicBezTo>
                  <a:pt x="534" y="1813"/>
                  <a:pt x="464" y="1592"/>
                  <a:pt x="439" y="1553"/>
                </a:cubicBezTo>
                <a:cubicBezTo>
                  <a:pt x="413" y="1514"/>
                  <a:pt x="212" y="1576"/>
                  <a:pt x="148" y="1532"/>
                </a:cubicBezTo>
                <a:cubicBezTo>
                  <a:pt x="83" y="1489"/>
                  <a:pt x="135" y="1370"/>
                  <a:pt x="135" y="1370"/>
                </a:cubicBezTo>
                <a:cubicBezTo>
                  <a:pt x="135" y="1370"/>
                  <a:pt x="32" y="1362"/>
                  <a:pt x="109" y="1290"/>
                </a:cubicBezTo>
                <a:cubicBezTo>
                  <a:pt x="32" y="1272"/>
                  <a:pt x="117" y="1182"/>
                  <a:pt x="109" y="1154"/>
                </a:cubicBezTo>
                <a:cubicBezTo>
                  <a:pt x="47" y="1144"/>
                  <a:pt x="0" y="1100"/>
                  <a:pt x="5" y="1059"/>
                </a:cubicBezTo>
                <a:cubicBezTo>
                  <a:pt x="11" y="1018"/>
                  <a:pt x="154" y="906"/>
                  <a:pt x="136" y="870"/>
                </a:cubicBezTo>
                <a:cubicBezTo>
                  <a:pt x="118" y="834"/>
                  <a:pt x="8" y="466"/>
                  <a:pt x="343" y="190"/>
                </a:cubicBezTo>
                <a:cubicBezTo>
                  <a:pt x="553" y="18"/>
                  <a:pt x="897" y="0"/>
                  <a:pt x="1150" y="116"/>
                </a:cubicBezTo>
                <a:cubicBezTo>
                  <a:pt x="1301" y="185"/>
                  <a:pt x="1415" y="320"/>
                  <a:pt x="1461" y="453"/>
                </a:cubicBezTo>
                <a:cubicBezTo>
                  <a:pt x="1517" y="612"/>
                  <a:pt x="1522" y="801"/>
                  <a:pt x="1451" y="937"/>
                </a:cubicBezTo>
                <a:cubicBezTo>
                  <a:pt x="1363" y="1106"/>
                  <a:pt x="1187" y="1215"/>
                  <a:pt x="1173" y="1321"/>
                </a:cubicBezTo>
                <a:cubicBezTo>
                  <a:pt x="1147" y="1514"/>
                  <a:pt x="1301" y="1807"/>
                  <a:pt x="1301" y="1807"/>
                </a:cubicBezTo>
                <a:lnTo>
                  <a:pt x="534" y="1813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1">
              <a:latin typeface="+mn-lt"/>
            </a:endParaRPr>
          </a:p>
        </p:txBody>
      </p:sp>
      <p:pic>
        <p:nvPicPr>
          <p:cNvPr id="7" name="Picture 153">
            <a:extLst>
              <a:ext uri="{FF2B5EF4-FFF2-40B4-BE49-F238E27FC236}">
                <a16:creationId xmlns:a16="http://schemas.microsoft.com/office/drawing/2014/main" id="{1A9872AC-25A9-47DF-B940-D143C9FB33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020" y="3715027"/>
            <a:ext cx="6477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reeform 265">
            <a:extLst>
              <a:ext uri="{FF2B5EF4-FFF2-40B4-BE49-F238E27FC236}">
                <a16:creationId xmlns:a16="http://schemas.microsoft.com/office/drawing/2014/main" id="{C7F7D286-A1BA-460B-8299-55E491EDABF4}"/>
              </a:ext>
            </a:extLst>
          </p:cNvPr>
          <p:cNvSpPr>
            <a:spLocks/>
          </p:cNvSpPr>
          <p:nvPr/>
        </p:nvSpPr>
        <p:spPr bwMode="auto">
          <a:xfrm>
            <a:off x="4017070" y="2511702"/>
            <a:ext cx="1668462" cy="1614488"/>
          </a:xfrm>
          <a:custGeom>
            <a:avLst/>
            <a:gdLst/>
            <a:ahLst/>
            <a:cxnLst>
              <a:cxn ang="0">
                <a:pos x="748" y="622"/>
              </a:cxn>
              <a:cxn ang="0">
                <a:pos x="748" y="622"/>
              </a:cxn>
              <a:cxn ang="0">
                <a:pos x="748" y="0"/>
              </a:cxn>
              <a:cxn ang="0">
                <a:pos x="718" y="21"/>
              </a:cxn>
              <a:cxn ang="0">
                <a:pos x="680" y="82"/>
              </a:cxn>
              <a:cxn ang="0">
                <a:pos x="606" y="94"/>
              </a:cxn>
              <a:cxn ang="0">
                <a:pos x="552" y="47"/>
              </a:cxn>
              <a:cxn ang="0">
                <a:pos x="494" y="66"/>
              </a:cxn>
              <a:cxn ang="0">
                <a:pos x="478" y="135"/>
              </a:cxn>
              <a:cxn ang="0">
                <a:pos x="411" y="169"/>
              </a:cxn>
              <a:cxn ang="0">
                <a:pos x="345" y="142"/>
              </a:cxn>
              <a:cxn ang="0">
                <a:pos x="296" y="177"/>
              </a:cxn>
              <a:cxn ang="0">
                <a:pos x="302" y="249"/>
              </a:cxn>
              <a:cxn ang="0">
                <a:pos x="249" y="302"/>
              </a:cxn>
              <a:cxn ang="0">
                <a:pos x="177" y="296"/>
              </a:cxn>
              <a:cxn ang="0">
                <a:pos x="142" y="345"/>
              </a:cxn>
              <a:cxn ang="0">
                <a:pos x="169" y="411"/>
              </a:cxn>
              <a:cxn ang="0">
                <a:pos x="135" y="478"/>
              </a:cxn>
              <a:cxn ang="0">
                <a:pos x="65" y="494"/>
              </a:cxn>
              <a:cxn ang="0">
                <a:pos x="47" y="552"/>
              </a:cxn>
              <a:cxn ang="0">
                <a:pos x="94" y="606"/>
              </a:cxn>
              <a:cxn ang="0">
                <a:pos x="82" y="680"/>
              </a:cxn>
              <a:cxn ang="0">
                <a:pos x="21" y="718"/>
              </a:cxn>
              <a:cxn ang="0">
                <a:pos x="0" y="748"/>
              </a:cxn>
              <a:cxn ang="0">
                <a:pos x="622" y="748"/>
              </a:cxn>
              <a:cxn ang="0">
                <a:pos x="748" y="622"/>
              </a:cxn>
            </a:cxnLst>
            <a:rect l="0" t="0" r="r" b="b"/>
            <a:pathLst>
              <a:path w="748" h="748">
                <a:moveTo>
                  <a:pt x="748" y="622"/>
                </a:moveTo>
                <a:cubicBezTo>
                  <a:pt x="748" y="622"/>
                  <a:pt x="748" y="622"/>
                  <a:pt x="748" y="622"/>
                </a:cubicBezTo>
                <a:cubicBezTo>
                  <a:pt x="748" y="0"/>
                  <a:pt x="748" y="0"/>
                  <a:pt x="748" y="0"/>
                </a:cubicBezTo>
                <a:cubicBezTo>
                  <a:pt x="737" y="0"/>
                  <a:pt x="726" y="7"/>
                  <a:pt x="718" y="21"/>
                </a:cubicBezTo>
                <a:cubicBezTo>
                  <a:pt x="680" y="82"/>
                  <a:pt x="680" y="82"/>
                  <a:pt x="680" y="82"/>
                </a:cubicBezTo>
                <a:cubicBezTo>
                  <a:pt x="664" y="109"/>
                  <a:pt x="630" y="115"/>
                  <a:pt x="606" y="94"/>
                </a:cubicBezTo>
                <a:cubicBezTo>
                  <a:pt x="552" y="47"/>
                  <a:pt x="552" y="47"/>
                  <a:pt x="552" y="47"/>
                </a:cubicBezTo>
                <a:cubicBezTo>
                  <a:pt x="527" y="26"/>
                  <a:pt x="502" y="34"/>
                  <a:pt x="494" y="66"/>
                </a:cubicBezTo>
                <a:cubicBezTo>
                  <a:pt x="478" y="135"/>
                  <a:pt x="478" y="135"/>
                  <a:pt x="478" y="135"/>
                </a:cubicBezTo>
                <a:cubicBezTo>
                  <a:pt x="471" y="167"/>
                  <a:pt x="440" y="182"/>
                  <a:pt x="411" y="169"/>
                </a:cubicBezTo>
                <a:cubicBezTo>
                  <a:pt x="345" y="142"/>
                  <a:pt x="345" y="142"/>
                  <a:pt x="345" y="142"/>
                </a:cubicBezTo>
                <a:cubicBezTo>
                  <a:pt x="315" y="129"/>
                  <a:pt x="293" y="145"/>
                  <a:pt x="296" y="177"/>
                </a:cubicBezTo>
                <a:cubicBezTo>
                  <a:pt x="302" y="249"/>
                  <a:pt x="302" y="249"/>
                  <a:pt x="302" y="249"/>
                </a:cubicBezTo>
                <a:cubicBezTo>
                  <a:pt x="305" y="281"/>
                  <a:pt x="281" y="305"/>
                  <a:pt x="249" y="302"/>
                </a:cubicBezTo>
                <a:cubicBezTo>
                  <a:pt x="177" y="296"/>
                  <a:pt x="177" y="296"/>
                  <a:pt x="177" y="296"/>
                </a:cubicBezTo>
                <a:cubicBezTo>
                  <a:pt x="145" y="293"/>
                  <a:pt x="129" y="315"/>
                  <a:pt x="142" y="345"/>
                </a:cubicBezTo>
                <a:cubicBezTo>
                  <a:pt x="169" y="411"/>
                  <a:pt x="169" y="411"/>
                  <a:pt x="169" y="411"/>
                </a:cubicBezTo>
                <a:cubicBezTo>
                  <a:pt x="182" y="441"/>
                  <a:pt x="166" y="471"/>
                  <a:pt x="135" y="478"/>
                </a:cubicBezTo>
                <a:cubicBezTo>
                  <a:pt x="65" y="494"/>
                  <a:pt x="65" y="494"/>
                  <a:pt x="65" y="494"/>
                </a:cubicBezTo>
                <a:cubicBezTo>
                  <a:pt x="34" y="502"/>
                  <a:pt x="26" y="528"/>
                  <a:pt x="47" y="552"/>
                </a:cubicBezTo>
                <a:cubicBezTo>
                  <a:pt x="94" y="606"/>
                  <a:pt x="94" y="606"/>
                  <a:pt x="94" y="606"/>
                </a:cubicBezTo>
                <a:cubicBezTo>
                  <a:pt x="115" y="630"/>
                  <a:pt x="109" y="664"/>
                  <a:pt x="82" y="680"/>
                </a:cubicBezTo>
                <a:cubicBezTo>
                  <a:pt x="21" y="718"/>
                  <a:pt x="21" y="718"/>
                  <a:pt x="21" y="718"/>
                </a:cubicBezTo>
                <a:cubicBezTo>
                  <a:pt x="7" y="726"/>
                  <a:pt x="0" y="737"/>
                  <a:pt x="0" y="748"/>
                </a:cubicBezTo>
                <a:cubicBezTo>
                  <a:pt x="622" y="748"/>
                  <a:pt x="622" y="748"/>
                  <a:pt x="622" y="748"/>
                </a:cubicBezTo>
                <a:cubicBezTo>
                  <a:pt x="622" y="678"/>
                  <a:pt x="678" y="622"/>
                  <a:pt x="748" y="622"/>
                </a:cubicBezTo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1">
              <a:latin typeface="+mn-lt"/>
            </a:endParaRPr>
          </a:p>
        </p:txBody>
      </p:sp>
      <p:sp>
        <p:nvSpPr>
          <p:cNvPr id="9" name="Freeform 266">
            <a:extLst>
              <a:ext uri="{FF2B5EF4-FFF2-40B4-BE49-F238E27FC236}">
                <a16:creationId xmlns:a16="http://schemas.microsoft.com/office/drawing/2014/main" id="{851E7752-346E-4E76-B8E3-C3A8056818E1}"/>
              </a:ext>
            </a:extLst>
          </p:cNvPr>
          <p:cNvSpPr>
            <a:spLocks/>
          </p:cNvSpPr>
          <p:nvPr/>
        </p:nvSpPr>
        <p:spPr bwMode="auto">
          <a:xfrm>
            <a:off x="4017070" y="4126190"/>
            <a:ext cx="1668462" cy="1611312"/>
          </a:xfrm>
          <a:custGeom>
            <a:avLst/>
            <a:gdLst/>
            <a:ahLst/>
            <a:cxnLst>
              <a:cxn ang="0">
                <a:pos x="748" y="126"/>
              </a:cxn>
              <a:cxn ang="0">
                <a:pos x="748" y="126"/>
              </a:cxn>
              <a:cxn ang="0">
                <a:pos x="622" y="0"/>
              </a:cxn>
              <a:cxn ang="0">
                <a:pos x="622" y="0"/>
              </a:cxn>
              <a:cxn ang="0">
                <a:pos x="0" y="0"/>
              </a:cxn>
              <a:cxn ang="0">
                <a:pos x="21" y="30"/>
              </a:cxn>
              <a:cxn ang="0">
                <a:pos x="82" y="67"/>
              </a:cxn>
              <a:cxn ang="0">
                <a:pos x="94" y="141"/>
              </a:cxn>
              <a:cxn ang="0">
                <a:pos x="47" y="196"/>
              </a:cxn>
              <a:cxn ang="0">
                <a:pos x="65" y="253"/>
              </a:cxn>
              <a:cxn ang="0">
                <a:pos x="135" y="270"/>
              </a:cxn>
              <a:cxn ang="0">
                <a:pos x="169" y="337"/>
              </a:cxn>
              <a:cxn ang="0">
                <a:pos x="142" y="403"/>
              </a:cxn>
              <a:cxn ang="0">
                <a:pos x="177" y="452"/>
              </a:cxn>
              <a:cxn ang="0">
                <a:pos x="249" y="446"/>
              </a:cxn>
              <a:cxn ang="0">
                <a:pos x="302" y="499"/>
              </a:cxn>
              <a:cxn ang="0">
                <a:pos x="296" y="570"/>
              </a:cxn>
              <a:cxn ang="0">
                <a:pos x="345" y="606"/>
              </a:cxn>
              <a:cxn ang="0">
                <a:pos x="411" y="578"/>
              </a:cxn>
              <a:cxn ang="0">
                <a:pos x="478" y="612"/>
              </a:cxn>
              <a:cxn ang="0">
                <a:pos x="494" y="682"/>
              </a:cxn>
              <a:cxn ang="0">
                <a:pos x="552" y="701"/>
              </a:cxn>
              <a:cxn ang="0">
                <a:pos x="606" y="654"/>
              </a:cxn>
              <a:cxn ang="0">
                <a:pos x="680" y="666"/>
              </a:cxn>
              <a:cxn ang="0">
                <a:pos x="718" y="727"/>
              </a:cxn>
              <a:cxn ang="0">
                <a:pos x="748" y="748"/>
              </a:cxn>
              <a:cxn ang="0">
                <a:pos x="748" y="126"/>
              </a:cxn>
            </a:cxnLst>
            <a:rect l="0" t="0" r="r" b="b"/>
            <a:pathLst>
              <a:path w="748" h="748">
                <a:moveTo>
                  <a:pt x="748" y="126"/>
                </a:moveTo>
                <a:cubicBezTo>
                  <a:pt x="748" y="126"/>
                  <a:pt x="748" y="126"/>
                  <a:pt x="748" y="126"/>
                </a:cubicBezTo>
                <a:cubicBezTo>
                  <a:pt x="678" y="126"/>
                  <a:pt x="622" y="69"/>
                  <a:pt x="622" y="0"/>
                </a:cubicBezTo>
                <a:cubicBezTo>
                  <a:pt x="622" y="0"/>
                  <a:pt x="622" y="0"/>
                  <a:pt x="62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1"/>
                  <a:pt x="7" y="22"/>
                  <a:pt x="21" y="30"/>
                </a:cubicBezTo>
                <a:cubicBezTo>
                  <a:pt x="82" y="67"/>
                  <a:pt x="82" y="67"/>
                  <a:pt x="82" y="67"/>
                </a:cubicBezTo>
                <a:cubicBezTo>
                  <a:pt x="109" y="84"/>
                  <a:pt x="115" y="117"/>
                  <a:pt x="94" y="141"/>
                </a:cubicBezTo>
                <a:cubicBezTo>
                  <a:pt x="47" y="196"/>
                  <a:pt x="47" y="196"/>
                  <a:pt x="47" y="196"/>
                </a:cubicBezTo>
                <a:cubicBezTo>
                  <a:pt x="26" y="220"/>
                  <a:pt x="34" y="246"/>
                  <a:pt x="65" y="253"/>
                </a:cubicBezTo>
                <a:cubicBezTo>
                  <a:pt x="135" y="270"/>
                  <a:pt x="135" y="270"/>
                  <a:pt x="135" y="270"/>
                </a:cubicBezTo>
                <a:cubicBezTo>
                  <a:pt x="166" y="277"/>
                  <a:pt x="182" y="307"/>
                  <a:pt x="169" y="337"/>
                </a:cubicBezTo>
                <a:cubicBezTo>
                  <a:pt x="142" y="403"/>
                  <a:pt x="142" y="403"/>
                  <a:pt x="142" y="403"/>
                </a:cubicBezTo>
                <a:cubicBezTo>
                  <a:pt x="129" y="432"/>
                  <a:pt x="145" y="454"/>
                  <a:pt x="177" y="452"/>
                </a:cubicBezTo>
                <a:cubicBezTo>
                  <a:pt x="249" y="446"/>
                  <a:pt x="249" y="446"/>
                  <a:pt x="249" y="446"/>
                </a:cubicBezTo>
                <a:cubicBezTo>
                  <a:pt x="281" y="443"/>
                  <a:pt x="305" y="467"/>
                  <a:pt x="302" y="499"/>
                </a:cubicBezTo>
                <a:cubicBezTo>
                  <a:pt x="296" y="570"/>
                  <a:pt x="296" y="570"/>
                  <a:pt x="296" y="570"/>
                </a:cubicBezTo>
                <a:cubicBezTo>
                  <a:pt x="293" y="602"/>
                  <a:pt x="315" y="618"/>
                  <a:pt x="345" y="606"/>
                </a:cubicBezTo>
                <a:cubicBezTo>
                  <a:pt x="411" y="578"/>
                  <a:pt x="411" y="578"/>
                  <a:pt x="411" y="578"/>
                </a:cubicBezTo>
                <a:cubicBezTo>
                  <a:pt x="440" y="566"/>
                  <a:pt x="471" y="581"/>
                  <a:pt x="478" y="612"/>
                </a:cubicBezTo>
                <a:cubicBezTo>
                  <a:pt x="494" y="682"/>
                  <a:pt x="494" y="682"/>
                  <a:pt x="494" y="682"/>
                </a:cubicBezTo>
                <a:cubicBezTo>
                  <a:pt x="502" y="713"/>
                  <a:pt x="527" y="722"/>
                  <a:pt x="552" y="701"/>
                </a:cubicBezTo>
                <a:cubicBezTo>
                  <a:pt x="606" y="654"/>
                  <a:pt x="606" y="654"/>
                  <a:pt x="606" y="654"/>
                </a:cubicBezTo>
                <a:cubicBezTo>
                  <a:pt x="630" y="633"/>
                  <a:pt x="664" y="638"/>
                  <a:pt x="680" y="666"/>
                </a:cubicBezTo>
                <a:cubicBezTo>
                  <a:pt x="718" y="727"/>
                  <a:pt x="718" y="727"/>
                  <a:pt x="718" y="727"/>
                </a:cubicBezTo>
                <a:cubicBezTo>
                  <a:pt x="726" y="741"/>
                  <a:pt x="737" y="748"/>
                  <a:pt x="748" y="748"/>
                </a:cubicBezTo>
                <a:cubicBezTo>
                  <a:pt x="748" y="126"/>
                  <a:pt x="748" y="126"/>
                  <a:pt x="748" y="126"/>
                </a:cubicBezTo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1">
              <a:latin typeface="+mn-lt"/>
            </a:endParaRPr>
          </a:p>
        </p:txBody>
      </p:sp>
      <p:sp>
        <p:nvSpPr>
          <p:cNvPr id="10" name="Freeform 267">
            <a:extLst>
              <a:ext uri="{FF2B5EF4-FFF2-40B4-BE49-F238E27FC236}">
                <a16:creationId xmlns:a16="http://schemas.microsoft.com/office/drawing/2014/main" id="{2249C072-0B1F-4931-9DC0-711F7BFCD06B}"/>
              </a:ext>
            </a:extLst>
          </p:cNvPr>
          <p:cNvSpPr>
            <a:spLocks/>
          </p:cNvSpPr>
          <p:nvPr/>
        </p:nvSpPr>
        <p:spPr bwMode="auto">
          <a:xfrm>
            <a:off x="5685532" y="2511702"/>
            <a:ext cx="1670050" cy="1614488"/>
          </a:xfrm>
          <a:custGeom>
            <a:avLst/>
            <a:gdLst/>
            <a:ahLst/>
            <a:cxnLst>
              <a:cxn ang="0">
                <a:pos x="727" y="718"/>
              </a:cxn>
              <a:cxn ang="0">
                <a:pos x="666" y="680"/>
              </a:cxn>
              <a:cxn ang="0">
                <a:pos x="654" y="606"/>
              </a:cxn>
              <a:cxn ang="0">
                <a:pos x="701" y="552"/>
              </a:cxn>
              <a:cxn ang="0">
                <a:pos x="682" y="494"/>
              </a:cxn>
              <a:cxn ang="0">
                <a:pos x="612" y="478"/>
              </a:cxn>
              <a:cxn ang="0">
                <a:pos x="578" y="411"/>
              </a:cxn>
              <a:cxn ang="0">
                <a:pos x="606" y="345"/>
              </a:cxn>
              <a:cxn ang="0">
                <a:pos x="570" y="296"/>
              </a:cxn>
              <a:cxn ang="0">
                <a:pos x="499" y="302"/>
              </a:cxn>
              <a:cxn ang="0">
                <a:pos x="446" y="249"/>
              </a:cxn>
              <a:cxn ang="0">
                <a:pos x="452" y="177"/>
              </a:cxn>
              <a:cxn ang="0">
                <a:pos x="403" y="142"/>
              </a:cxn>
              <a:cxn ang="0">
                <a:pos x="337" y="169"/>
              </a:cxn>
              <a:cxn ang="0">
                <a:pos x="270" y="135"/>
              </a:cxn>
              <a:cxn ang="0">
                <a:pos x="253" y="66"/>
              </a:cxn>
              <a:cxn ang="0">
                <a:pos x="196" y="47"/>
              </a:cxn>
              <a:cxn ang="0">
                <a:pos x="141" y="94"/>
              </a:cxn>
              <a:cxn ang="0">
                <a:pos x="67" y="82"/>
              </a:cxn>
              <a:cxn ang="0">
                <a:pos x="30" y="21"/>
              </a:cxn>
              <a:cxn ang="0">
                <a:pos x="0" y="0"/>
              </a:cxn>
              <a:cxn ang="0">
                <a:pos x="0" y="622"/>
              </a:cxn>
              <a:cxn ang="0">
                <a:pos x="126" y="748"/>
              </a:cxn>
              <a:cxn ang="0">
                <a:pos x="748" y="748"/>
              </a:cxn>
              <a:cxn ang="0">
                <a:pos x="727" y="718"/>
              </a:cxn>
            </a:cxnLst>
            <a:rect l="0" t="0" r="r" b="b"/>
            <a:pathLst>
              <a:path w="748" h="748">
                <a:moveTo>
                  <a:pt x="727" y="718"/>
                </a:moveTo>
                <a:cubicBezTo>
                  <a:pt x="666" y="680"/>
                  <a:pt x="666" y="680"/>
                  <a:pt x="666" y="680"/>
                </a:cubicBezTo>
                <a:cubicBezTo>
                  <a:pt x="638" y="664"/>
                  <a:pt x="633" y="630"/>
                  <a:pt x="654" y="606"/>
                </a:cubicBezTo>
                <a:cubicBezTo>
                  <a:pt x="701" y="552"/>
                  <a:pt x="701" y="552"/>
                  <a:pt x="701" y="552"/>
                </a:cubicBezTo>
                <a:cubicBezTo>
                  <a:pt x="722" y="528"/>
                  <a:pt x="713" y="502"/>
                  <a:pt x="682" y="494"/>
                </a:cubicBezTo>
                <a:cubicBezTo>
                  <a:pt x="612" y="478"/>
                  <a:pt x="612" y="478"/>
                  <a:pt x="612" y="478"/>
                </a:cubicBezTo>
                <a:cubicBezTo>
                  <a:pt x="581" y="471"/>
                  <a:pt x="566" y="441"/>
                  <a:pt x="578" y="411"/>
                </a:cubicBezTo>
                <a:cubicBezTo>
                  <a:pt x="606" y="345"/>
                  <a:pt x="606" y="345"/>
                  <a:pt x="606" y="345"/>
                </a:cubicBezTo>
                <a:cubicBezTo>
                  <a:pt x="618" y="315"/>
                  <a:pt x="602" y="293"/>
                  <a:pt x="570" y="296"/>
                </a:cubicBezTo>
                <a:cubicBezTo>
                  <a:pt x="499" y="302"/>
                  <a:pt x="499" y="302"/>
                  <a:pt x="499" y="302"/>
                </a:cubicBezTo>
                <a:cubicBezTo>
                  <a:pt x="467" y="305"/>
                  <a:pt x="443" y="281"/>
                  <a:pt x="446" y="249"/>
                </a:cubicBezTo>
                <a:cubicBezTo>
                  <a:pt x="452" y="177"/>
                  <a:pt x="452" y="177"/>
                  <a:pt x="452" y="177"/>
                </a:cubicBezTo>
                <a:cubicBezTo>
                  <a:pt x="454" y="145"/>
                  <a:pt x="432" y="129"/>
                  <a:pt x="403" y="142"/>
                </a:cubicBezTo>
                <a:cubicBezTo>
                  <a:pt x="337" y="169"/>
                  <a:pt x="337" y="169"/>
                  <a:pt x="337" y="169"/>
                </a:cubicBezTo>
                <a:cubicBezTo>
                  <a:pt x="307" y="182"/>
                  <a:pt x="277" y="167"/>
                  <a:pt x="270" y="135"/>
                </a:cubicBezTo>
                <a:cubicBezTo>
                  <a:pt x="253" y="66"/>
                  <a:pt x="253" y="66"/>
                  <a:pt x="253" y="66"/>
                </a:cubicBezTo>
                <a:cubicBezTo>
                  <a:pt x="246" y="34"/>
                  <a:pt x="220" y="26"/>
                  <a:pt x="196" y="47"/>
                </a:cubicBezTo>
                <a:cubicBezTo>
                  <a:pt x="141" y="94"/>
                  <a:pt x="141" y="94"/>
                  <a:pt x="141" y="94"/>
                </a:cubicBezTo>
                <a:cubicBezTo>
                  <a:pt x="117" y="115"/>
                  <a:pt x="84" y="109"/>
                  <a:pt x="67" y="82"/>
                </a:cubicBezTo>
                <a:cubicBezTo>
                  <a:pt x="30" y="21"/>
                  <a:pt x="30" y="21"/>
                  <a:pt x="30" y="21"/>
                </a:cubicBezTo>
                <a:cubicBezTo>
                  <a:pt x="22" y="7"/>
                  <a:pt x="11" y="0"/>
                  <a:pt x="0" y="0"/>
                </a:cubicBezTo>
                <a:cubicBezTo>
                  <a:pt x="0" y="622"/>
                  <a:pt x="0" y="622"/>
                  <a:pt x="0" y="622"/>
                </a:cubicBezTo>
                <a:cubicBezTo>
                  <a:pt x="69" y="622"/>
                  <a:pt x="126" y="678"/>
                  <a:pt x="126" y="748"/>
                </a:cubicBezTo>
                <a:cubicBezTo>
                  <a:pt x="748" y="748"/>
                  <a:pt x="748" y="748"/>
                  <a:pt x="748" y="748"/>
                </a:cubicBezTo>
                <a:cubicBezTo>
                  <a:pt x="748" y="737"/>
                  <a:pt x="741" y="726"/>
                  <a:pt x="727" y="718"/>
                </a:cubicBezTo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1">
              <a:latin typeface="+mn-lt"/>
            </a:endParaRPr>
          </a:p>
        </p:txBody>
      </p:sp>
      <p:sp>
        <p:nvSpPr>
          <p:cNvPr id="11" name="Freeform 889">
            <a:extLst>
              <a:ext uri="{FF2B5EF4-FFF2-40B4-BE49-F238E27FC236}">
                <a16:creationId xmlns:a16="http://schemas.microsoft.com/office/drawing/2014/main" id="{D6AE64AA-2862-4521-B30F-F0D80C4A78AD}"/>
              </a:ext>
            </a:extLst>
          </p:cNvPr>
          <p:cNvSpPr>
            <a:spLocks/>
          </p:cNvSpPr>
          <p:nvPr/>
        </p:nvSpPr>
        <p:spPr bwMode="auto">
          <a:xfrm>
            <a:off x="5685532" y="4126190"/>
            <a:ext cx="1670050" cy="1611312"/>
          </a:xfrm>
          <a:custGeom>
            <a:avLst/>
            <a:gdLst/>
            <a:ahLst/>
            <a:cxnLst>
              <a:cxn ang="0">
                <a:pos x="612" y="270"/>
              </a:cxn>
              <a:cxn ang="0">
                <a:pos x="682" y="253"/>
              </a:cxn>
              <a:cxn ang="0">
                <a:pos x="701" y="196"/>
              </a:cxn>
              <a:cxn ang="0">
                <a:pos x="654" y="141"/>
              </a:cxn>
              <a:cxn ang="0">
                <a:pos x="666" y="67"/>
              </a:cxn>
              <a:cxn ang="0">
                <a:pos x="727" y="30"/>
              </a:cxn>
              <a:cxn ang="0">
                <a:pos x="748" y="0"/>
              </a:cxn>
              <a:cxn ang="0">
                <a:pos x="126" y="0"/>
              </a:cxn>
              <a:cxn ang="0">
                <a:pos x="126" y="0"/>
              </a:cxn>
              <a:cxn ang="0">
                <a:pos x="0" y="126"/>
              </a:cxn>
              <a:cxn ang="0">
                <a:pos x="0" y="748"/>
              </a:cxn>
              <a:cxn ang="0">
                <a:pos x="30" y="727"/>
              </a:cxn>
              <a:cxn ang="0">
                <a:pos x="67" y="666"/>
              </a:cxn>
              <a:cxn ang="0">
                <a:pos x="141" y="654"/>
              </a:cxn>
              <a:cxn ang="0">
                <a:pos x="196" y="701"/>
              </a:cxn>
              <a:cxn ang="0">
                <a:pos x="253" y="682"/>
              </a:cxn>
              <a:cxn ang="0">
                <a:pos x="270" y="612"/>
              </a:cxn>
              <a:cxn ang="0">
                <a:pos x="337" y="578"/>
              </a:cxn>
              <a:cxn ang="0">
                <a:pos x="403" y="606"/>
              </a:cxn>
              <a:cxn ang="0">
                <a:pos x="452" y="570"/>
              </a:cxn>
              <a:cxn ang="0">
                <a:pos x="446" y="499"/>
              </a:cxn>
              <a:cxn ang="0">
                <a:pos x="499" y="446"/>
              </a:cxn>
              <a:cxn ang="0">
                <a:pos x="570" y="452"/>
              </a:cxn>
              <a:cxn ang="0">
                <a:pos x="606" y="403"/>
              </a:cxn>
              <a:cxn ang="0">
                <a:pos x="578" y="337"/>
              </a:cxn>
              <a:cxn ang="0">
                <a:pos x="612" y="270"/>
              </a:cxn>
            </a:cxnLst>
            <a:rect l="0" t="0" r="r" b="b"/>
            <a:pathLst>
              <a:path w="748" h="748">
                <a:moveTo>
                  <a:pt x="612" y="270"/>
                </a:moveTo>
                <a:cubicBezTo>
                  <a:pt x="682" y="253"/>
                  <a:pt x="682" y="253"/>
                  <a:pt x="682" y="253"/>
                </a:cubicBezTo>
                <a:cubicBezTo>
                  <a:pt x="713" y="246"/>
                  <a:pt x="722" y="220"/>
                  <a:pt x="701" y="196"/>
                </a:cubicBezTo>
                <a:cubicBezTo>
                  <a:pt x="654" y="141"/>
                  <a:pt x="654" y="141"/>
                  <a:pt x="654" y="141"/>
                </a:cubicBezTo>
                <a:cubicBezTo>
                  <a:pt x="633" y="117"/>
                  <a:pt x="638" y="84"/>
                  <a:pt x="666" y="67"/>
                </a:cubicBezTo>
                <a:cubicBezTo>
                  <a:pt x="727" y="30"/>
                  <a:pt x="727" y="30"/>
                  <a:pt x="727" y="30"/>
                </a:cubicBezTo>
                <a:cubicBezTo>
                  <a:pt x="741" y="22"/>
                  <a:pt x="748" y="11"/>
                  <a:pt x="748" y="0"/>
                </a:cubicBezTo>
                <a:cubicBezTo>
                  <a:pt x="126" y="0"/>
                  <a:pt x="126" y="0"/>
                  <a:pt x="126" y="0"/>
                </a:cubicBezTo>
                <a:cubicBezTo>
                  <a:pt x="126" y="0"/>
                  <a:pt x="126" y="0"/>
                  <a:pt x="126" y="0"/>
                </a:cubicBezTo>
                <a:cubicBezTo>
                  <a:pt x="126" y="69"/>
                  <a:pt x="69" y="126"/>
                  <a:pt x="0" y="126"/>
                </a:cubicBezTo>
                <a:cubicBezTo>
                  <a:pt x="0" y="748"/>
                  <a:pt x="0" y="748"/>
                  <a:pt x="0" y="748"/>
                </a:cubicBezTo>
                <a:cubicBezTo>
                  <a:pt x="11" y="748"/>
                  <a:pt x="22" y="741"/>
                  <a:pt x="30" y="727"/>
                </a:cubicBezTo>
                <a:cubicBezTo>
                  <a:pt x="67" y="666"/>
                  <a:pt x="67" y="666"/>
                  <a:pt x="67" y="666"/>
                </a:cubicBezTo>
                <a:cubicBezTo>
                  <a:pt x="84" y="638"/>
                  <a:pt x="117" y="633"/>
                  <a:pt x="141" y="654"/>
                </a:cubicBezTo>
                <a:cubicBezTo>
                  <a:pt x="196" y="701"/>
                  <a:pt x="196" y="701"/>
                  <a:pt x="196" y="701"/>
                </a:cubicBezTo>
                <a:cubicBezTo>
                  <a:pt x="220" y="722"/>
                  <a:pt x="246" y="713"/>
                  <a:pt x="253" y="682"/>
                </a:cubicBezTo>
                <a:cubicBezTo>
                  <a:pt x="270" y="612"/>
                  <a:pt x="270" y="612"/>
                  <a:pt x="270" y="612"/>
                </a:cubicBezTo>
                <a:cubicBezTo>
                  <a:pt x="277" y="581"/>
                  <a:pt x="307" y="566"/>
                  <a:pt x="337" y="578"/>
                </a:cubicBezTo>
                <a:cubicBezTo>
                  <a:pt x="403" y="606"/>
                  <a:pt x="403" y="606"/>
                  <a:pt x="403" y="606"/>
                </a:cubicBezTo>
                <a:cubicBezTo>
                  <a:pt x="432" y="618"/>
                  <a:pt x="454" y="602"/>
                  <a:pt x="452" y="570"/>
                </a:cubicBezTo>
                <a:cubicBezTo>
                  <a:pt x="446" y="499"/>
                  <a:pt x="446" y="499"/>
                  <a:pt x="446" y="499"/>
                </a:cubicBezTo>
                <a:cubicBezTo>
                  <a:pt x="443" y="467"/>
                  <a:pt x="467" y="443"/>
                  <a:pt x="499" y="446"/>
                </a:cubicBezTo>
                <a:cubicBezTo>
                  <a:pt x="570" y="452"/>
                  <a:pt x="570" y="452"/>
                  <a:pt x="570" y="452"/>
                </a:cubicBezTo>
                <a:cubicBezTo>
                  <a:pt x="602" y="454"/>
                  <a:pt x="618" y="432"/>
                  <a:pt x="606" y="403"/>
                </a:cubicBezTo>
                <a:cubicBezTo>
                  <a:pt x="578" y="337"/>
                  <a:pt x="578" y="337"/>
                  <a:pt x="578" y="337"/>
                </a:cubicBezTo>
                <a:cubicBezTo>
                  <a:pt x="566" y="307"/>
                  <a:pt x="581" y="277"/>
                  <a:pt x="612" y="270"/>
                </a:cubicBezTo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1">
              <a:latin typeface="+mn-lt"/>
            </a:endParaRPr>
          </a:p>
        </p:txBody>
      </p:sp>
      <p:sp>
        <p:nvSpPr>
          <p:cNvPr id="12" name="Oval 12">
            <a:extLst>
              <a:ext uri="{FF2B5EF4-FFF2-40B4-BE49-F238E27FC236}">
                <a16:creationId xmlns:a16="http://schemas.microsoft.com/office/drawing/2014/main" id="{D0D6FAAA-6D0A-4A12-9BDB-DB2D6E9D9FC7}"/>
              </a:ext>
            </a:extLst>
          </p:cNvPr>
          <p:cNvSpPr/>
          <p:nvPr/>
        </p:nvSpPr>
        <p:spPr>
          <a:xfrm>
            <a:off x="4802882" y="3173690"/>
            <a:ext cx="701675" cy="701675"/>
          </a:xfrm>
          <a:prstGeom prst="ellipse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US" altLang="zh-CN" sz="4400">
                <a:solidFill>
                  <a:srgbClr val="FFFFFF"/>
                </a:solidFill>
                <a:latin typeface="Sosa" pitchFamily="2" charset="0"/>
              </a:rPr>
              <a:t>Ĥ</a:t>
            </a:r>
            <a:endParaRPr lang="en-US" altLang="zh-CN" sz="4400">
              <a:solidFill>
                <a:schemeClr val="bg1"/>
              </a:solidFill>
              <a:latin typeface="Sosa" pitchFamily="2" charset="0"/>
            </a:endParaRPr>
          </a:p>
        </p:txBody>
      </p:sp>
      <p:sp>
        <p:nvSpPr>
          <p:cNvPr id="13" name="Oval 13">
            <a:extLst>
              <a:ext uri="{FF2B5EF4-FFF2-40B4-BE49-F238E27FC236}">
                <a16:creationId xmlns:a16="http://schemas.microsoft.com/office/drawing/2014/main" id="{E6CD30F6-94D8-45FB-8A84-D76E80BA6C0A}"/>
              </a:ext>
            </a:extLst>
          </p:cNvPr>
          <p:cNvSpPr/>
          <p:nvPr/>
        </p:nvSpPr>
        <p:spPr>
          <a:xfrm>
            <a:off x="5850632" y="3043515"/>
            <a:ext cx="877888" cy="876300"/>
          </a:xfrm>
          <a:prstGeom prst="ellipse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4800" dirty="0">
                <a:solidFill>
                  <a:schemeClr val="bg1"/>
                </a:solidFill>
                <a:latin typeface="Sosa" pitchFamily="2" charset="0"/>
              </a:rPr>
              <a:t>L</a:t>
            </a:r>
            <a:endParaRPr lang="en-US" sz="4800" dirty="0">
              <a:solidFill>
                <a:schemeClr val="bg1"/>
              </a:solidFill>
              <a:latin typeface="Sosa" pitchFamily="2" charset="0"/>
            </a:endParaRPr>
          </a:p>
        </p:txBody>
      </p:sp>
      <p:sp>
        <p:nvSpPr>
          <p:cNvPr id="14" name="Oval 14">
            <a:extLst>
              <a:ext uri="{FF2B5EF4-FFF2-40B4-BE49-F238E27FC236}">
                <a16:creationId xmlns:a16="http://schemas.microsoft.com/office/drawing/2014/main" id="{7471C6BD-884E-4C4A-8351-7F6AE9C3E30E}"/>
              </a:ext>
            </a:extLst>
          </p:cNvPr>
          <p:cNvSpPr/>
          <p:nvPr/>
        </p:nvSpPr>
        <p:spPr>
          <a:xfrm>
            <a:off x="5926832" y="4330977"/>
            <a:ext cx="701675" cy="701675"/>
          </a:xfrm>
          <a:prstGeom prst="ellipse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800" dirty="0">
                <a:latin typeface="Sosa" pitchFamily="2" charset="0"/>
              </a:rPr>
              <a:t>Ñ</a:t>
            </a:r>
            <a:r>
              <a:rPr lang="en-US" sz="4800" dirty="0"/>
              <a:t> </a:t>
            </a:r>
            <a:endParaRPr lang="en-US" sz="4800" dirty="0">
              <a:solidFill>
                <a:schemeClr val="bg1"/>
              </a:solidFill>
              <a:latin typeface="Sosa" pitchFamily="2" charset="0"/>
            </a:endParaRPr>
          </a:p>
        </p:txBody>
      </p:sp>
      <p:sp>
        <p:nvSpPr>
          <p:cNvPr id="15" name="Oval 15">
            <a:extLst>
              <a:ext uri="{FF2B5EF4-FFF2-40B4-BE49-F238E27FC236}">
                <a16:creationId xmlns:a16="http://schemas.microsoft.com/office/drawing/2014/main" id="{F8B63EC9-925D-4559-9733-C12061E90024}"/>
              </a:ext>
            </a:extLst>
          </p:cNvPr>
          <p:cNvSpPr/>
          <p:nvPr/>
        </p:nvSpPr>
        <p:spPr>
          <a:xfrm>
            <a:off x="4753670" y="4323040"/>
            <a:ext cx="701675" cy="703262"/>
          </a:xfrm>
          <a:prstGeom prst="ellipse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4800" dirty="0">
                <a:latin typeface="Sosa" pitchFamily="2" charset="0"/>
              </a:rPr>
              <a:t>E</a:t>
            </a:r>
            <a:endParaRPr lang="en-US" sz="4800" dirty="0">
              <a:solidFill>
                <a:schemeClr val="bg1"/>
              </a:solidFill>
              <a:latin typeface="Sosa" pitchFamily="2" charset="0"/>
            </a:endParaRPr>
          </a:p>
        </p:txBody>
      </p:sp>
      <p:grpSp>
        <p:nvGrpSpPr>
          <p:cNvPr id="16" name="Group 16">
            <a:extLst>
              <a:ext uri="{FF2B5EF4-FFF2-40B4-BE49-F238E27FC236}">
                <a16:creationId xmlns:a16="http://schemas.microsoft.com/office/drawing/2014/main" id="{E3418CEA-5DBE-4B7E-AB10-9C13F6560855}"/>
              </a:ext>
            </a:extLst>
          </p:cNvPr>
          <p:cNvGrpSpPr>
            <a:grpSpLocks/>
          </p:cNvGrpSpPr>
          <p:nvPr/>
        </p:nvGrpSpPr>
        <p:grpSpPr bwMode="auto">
          <a:xfrm>
            <a:off x="2766120" y="2787927"/>
            <a:ext cx="1481137" cy="1054100"/>
            <a:chOff x="643212" y="3398474"/>
            <a:chExt cx="1480516" cy="1055083"/>
          </a:xfrm>
        </p:grpSpPr>
        <p:sp>
          <p:nvSpPr>
            <p:cNvPr id="17" name="Content Placeholder 2">
              <a:extLst>
                <a:ext uri="{FF2B5EF4-FFF2-40B4-BE49-F238E27FC236}">
                  <a16:creationId xmlns:a16="http://schemas.microsoft.com/office/drawing/2014/main" id="{F2D49F28-C327-41F9-8555-B9F4121390A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97520" y="3902530"/>
              <a:ext cx="1371900" cy="5510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en-US" altLang="zh-CN" sz="800">
                  <a:solidFill>
                    <a:srgbClr val="A6A6A6"/>
                  </a:solidFill>
                </a:rPr>
                <a:t>Lorem ipsum dolor sit amet, consectetur adipiscing.</a:t>
              </a:r>
            </a:p>
          </p:txBody>
        </p:sp>
        <p:grpSp>
          <p:nvGrpSpPr>
            <p:cNvPr id="18" name="Group 18">
              <a:extLst>
                <a:ext uri="{FF2B5EF4-FFF2-40B4-BE49-F238E27FC236}">
                  <a16:creationId xmlns:a16="http://schemas.microsoft.com/office/drawing/2014/main" id="{E7E65204-6AFD-4AA1-9F35-77D6CAD9196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43212" y="3398474"/>
              <a:ext cx="1480516" cy="590694"/>
              <a:chOff x="2343409" y="3651870"/>
              <a:chExt cx="1480516" cy="590694"/>
            </a:xfrm>
          </p:grpSpPr>
          <p:sp>
            <p:nvSpPr>
              <p:cNvPr id="19" name="Content Placeholder 2">
                <a:extLst>
                  <a:ext uri="{FF2B5EF4-FFF2-40B4-BE49-F238E27FC236}">
                    <a16:creationId xmlns:a16="http://schemas.microsoft.com/office/drawing/2014/main" id="{67C8884C-D585-4BA8-9937-8E0687D399E5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2399260" y="3651870"/>
                <a:ext cx="1368815" cy="4586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20000"/>
                  </a:spcBef>
                  <a:buFont typeface="Arial" panose="020B0604020202020204" pitchFamily="34" charset="0"/>
                  <a:buNone/>
                </a:pPr>
                <a:r>
                  <a:rPr lang="en-US" altLang="zh-CN" sz="2000">
                    <a:solidFill>
                      <a:schemeClr val="accent1"/>
                    </a:solidFill>
                    <a:latin typeface="Roboto" panose="02000000000000000000" pitchFamily="2" charset="0"/>
                  </a:rPr>
                  <a:t>$</a:t>
                </a:r>
                <a:r>
                  <a:rPr lang="id-ID" altLang="zh-CN" sz="200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57</a:t>
                </a:r>
                <a:r>
                  <a:rPr lang="en-US" altLang="zh-CN" sz="2000">
                    <a:solidFill>
                      <a:schemeClr val="accent1"/>
                    </a:solidFill>
                    <a:latin typeface="Roboto" panose="02000000000000000000" pitchFamily="2" charset="0"/>
                  </a:rPr>
                  <a:t>,453</a:t>
                </a:r>
              </a:p>
            </p:txBody>
          </p:sp>
          <p:sp>
            <p:nvSpPr>
              <p:cNvPr id="20" name="Content Placeholder 2">
                <a:extLst>
                  <a:ext uri="{FF2B5EF4-FFF2-40B4-BE49-F238E27FC236}">
                    <a16:creationId xmlns:a16="http://schemas.microsoft.com/office/drawing/2014/main" id="{9614F241-37CB-4CA2-9095-96BC2127C3B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343409" y="3912463"/>
                <a:ext cx="1480516" cy="330508"/>
              </a:xfrm>
              <a:prstGeom prst="rect">
                <a:avLst/>
              </a:prstGeom>
            </p:spPr>
            <p:txBody>
              <a:bodyPr/>
              <a:lstStyle>
                <a:lvl1pPr marL="342900" indent="-3429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2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1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»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fontAlgn="auto">
                  <a:spcAft>
                    <a:spcPts val="0"/>
                  </a:spcAft>
                  <a:buFont typeface="Arial" pitchFamily="34" charset="0"/>
                  <a:buNone/>
                  <a:defRPr/>
                </a:pPr>
                <a:r>
                  <a:rPr lang="en-US" sz="1200" b="1" dirty="0">
                    <a:solidFill>
                      <a:schemeClr val="bg1">
                        <a:lumMod val="50000"/>
                      </a:schemeClr>
                    </a:solidFill>
                  </a:rPr>
                  <a:t>Revenue</a:t>
                </a:r>
              </a:p>
            </p:txBody>
          </p:sp>
        </p:grpSp>
      </p:grpSp>
      <p:grpSp>
        <p:nvGrpSpPr>
          <p:cNvPr id="21" name="Group 21">
            <a:extLst>
              <a:ext uri="{FF2B5EF4-FFF2-40B4-BE49-F238E27FC236}">
                <a16:creationId xmlns:a16="http://schemas.microsoft.com/office/drawing/2014/main" id="{CC089FFC-5807-4D7D-A165-1A0A5ED0277A}"/>
              </a:ext>
            </a:extLst>
          </p:cNvPr>
          <p:cNvGrpSpPr>
            <a:grpSpLocks/>
          </p:cNvGrpSpPr>
          <p:nvPr/>
        </p:nvGrpSpPr>
        <p:grpSpPr bwMode="auto">
          <a:xfrm>
            <a:off x="7063482" y="4635777"/>
            <a:ext cx="1481138" cy="1054100"/>
            <a:chOff x="643212" y="3398474"/>
            <a:chExt cx="1480516" cy="1055083"/>
          </a:xfrm>
        </p:grpSpPr>
        <p:sp>
          <p:nvSpPr>
            <p:cNvPr id="22" name="Content Placeholder 2">
              <a:extLst>
                <a:ext uri="{FF2B5EF4-FFF2-40B4-BE49-F238E27FC236}">
                  <a16:creationId xmlns:a16="http://schemas.microsoft.com/office/drawing/2014/main" id="{7539CFBA-5647-4AA1-9CF3-292356D7A6B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97520" y="3902530"/>
              <a:ext cx="1371900" cy="5510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en-US" altLang="zh-CN" sz="800">
                  <a:solidFill>
                    <a:srgbClr val="A6A6A6"/>
                  </a:solidFill>
                </a:rPr>
                <a:t>Lorem ipsum dolor sit amet, consectetur adipiscing.</a:t>
              </a:r>
            </a:p>
          </p:txBody>
        </p:sp>
        <p:grpSp>
          <p:nvGrpSpPr>
            <p:cNvPr id="23" name="Group 23">
              <a:extLst>
                <a:ext uri="{FF2B5EF4-FFF2-40B4-BE49-F238E27FC236}">
                  <a16:creationId xmlns:a16="http://schemas.microsoft.com/office/drawing/2014/main" id="{29EA8C6F-A61C-4CC6-B937-7554354400B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43212" y="3398474"/>
              <a:ext cx="1480516" cy="590694"/>
              <a:chOff x="2343409" y="3651870"/>
              <a:chExt cx="1480516" cy="590694"/>
            </a:xfrm>
          </p:grpSpPr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CD667A5B-901B-4984-BAFD-D206FE3919B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398949" y="3651870"/>
                <a:ext cx="1369437" cy="459216"/>
              </a:xfrm>
              <a:prstGeom prst="rect">
                <a:avLst/>
              </a:prstGeom>
            </p:spPr>
            <p:txBody>
              <a:bodyPr/>
              <a:lstStyle>
                <a:lvl1pPr marL="342900" indent="-3429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2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1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»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fontAlgn="auto">
                  <a:spcAft>
                    <a:spcPts val="0"/>
                  </a:spcAft>
                  <a:buFont typeface="Arial" pitchFamily="34" charset="0"/>
                  <a:buNone/>
                  <a:defRPr/>
                </a:pPr>
                <a:r>
                  <a:rPr lang="en-US" sz="2000" dirty="0">
                    <a:solidFill>
                      <a:schemeClr val="accent6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$</a:t>
                </a:r>
                <a:r>
                  <a:rPr lang="id-ID" sz="2000" dirty="0">
                    <a:solidFill>
                      <a:schemeClr val="accent6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34</a:t>
                </a:r>
                <a:r>
                  <a:rPr lang="en-US" sz="2000" dirty="0">
                    <a:solidFill>
                      <a:schemeClr val="accent6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,</a:t>
                </a:r>
                <a:r>
                  <a:rPr lang="id-ID" sz="2000" dirty="0">
                    <a:solidFill>
                      <a:schemeClr val="accent6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522</a:t>
                </a:r>
                <a:endParaRPr lang="en-US" sz="2000" dirty="0">
                  <a:solidFill>
                    <a:schemeClr val="accent6"/>
                  </a:solidFill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25" name="Content Placeholder 2">
                <a:extLst>
                  <a:ext uri="{FF2B5EF4-FFF2-40B4-BE49-F238E27FC236}">
                    <a16:creationId xmlns:a16="http://schemas.microsoft.com/office/drawing/2014/main" id="{4B463093-7432-4186-BB2B-713B38D91FA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343409" y="3912463"/>
                <a:ext cx="1480516" cy="330508"/>
              </a:xfrm>
              <a:prstGeom prst="rect">
                <a:avLst/>
              </a:prstGeom>
            </p:spPr>
            <p:txBody>
              <a:bodyPr/>
              <a:lstStyle>
                <a:lvl1pPr marL="342900" indent="-3429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2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1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»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fontAlgn="auto">
                  <a:spcAft>
                    <a:spcPts val="0"/>
                  </a:spcAft>
                  <a:buFont typeface="Arial" pitchFamily="34" charset="0"/>
                  <a:buNone/>
                  <a:defRPr/>
                </a:pPr>
                <a:r>
                  <a:rPr lang="en-US" sz="1200" b="1" dirty="0">
                    <a:solidFill>
                      <a:schemeClr val="bg1">
                        <a:lumMod val="50000"/>
                      </a:schemeClr>
                    </a:solidFill>
                  </a:rPr>
                  <a:t>Revenue</a:t>
                </a:r>
              </a:p>
            </p:txBody>
          </p:sp>
        </p:grpSp>
      </p:grpSp>
      <p:grpSp>
        <p:nvGrpSpPr>
          <p:cNvPr id="26" name="Group 26">
            <a:extLst>
              <a:ext uri="{FF2B5EF4-FFF2-40B4-BE49-F238E27FC236}">
                <a16:creationId xmlns:a16="http://schemas.microsoft.com/office/drawing/2014/main" id="{54B0A5AD-AE92-488B-A46E-42ECB9B0379C}"/>
              </a:ext>
            </a:extLst>
          </p:cNvPr>
          <p:cNvGrpSpPr>
            <a:grpSpLocks/>
          </p:cNvGrpSpPr>
          <p:nvPr/>
        </p:nvGrpSpPr>
        <p:grpSpPr bwMode="auto">
          <a:xfrm>
            <a:off x="7168257" y="2954615"/>
            <a:ext cx="1479550" cy="1054100"/>
            <a:chOff x="643212" y="3398474"/>
            <a:chExt cx="1480516" cy="1055083"/>
          </a:xfrm>
        </p:grpSpPr>
        <p:sp>
          <p:nvSpPr>
            <p:cNvPr id="27" name="Content Placeholder 2">
              <a:extLst>
                <a:ext uri="{FF2B5EF4-FFF2-40B4-BE49-F238E27FC236}">
                  <a16:creationId xmlns:a16="http://schemas.microsoft.com/office/drawing/2014/main" id="{768DE866-7B3B-4362-8CE2-8C6742A3736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97520" y="3902530"/>
              <a:ext cx="1371900" cy="5510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en-US" altLang="zh-CN" sz="800">
                  <a:solidFill>
                    <a:srgbClr val="A6A6A6"/>
                  </a:solidFill>
                </a:rPr>
                <a:t>Lorem ipsum dolor sit amet, consectetur adipiscing.</a:t>
              </a:r>
            </a:p>
          </p:txBody>
        </p:sp>
        <p:grpSp>
          <p:nvGrpSpPr>
            <p:cNvPr id="28" name="Group 28">
              <a:extLst>
                <a:ext uri="{FF2B5EF4-FFF2-40B4-BE49-F238E27FC236}">
                  <a16:creationId xmlns:a16="http://schemas.microsoft.com/office/drawing/2014/main" id="{7FCBE899-4E14-4F08-BB17-68EE6851D7D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43212" y="3398474"/>
              <a:ext cx="1480516" cy="590694"/>
              <a:chOff x="2343409" y="3651870"/>
              <a:chExt cx="1480516" cy="590694"/>
            </a:xfrm>
          </p:grpSpPr>
          <p:sp>
            <p:nvSpPr>
              <p:cNvPr id="29" name="Content Placeholder 2">
                <a:extLst>
                  <a:ext uri="{FF2B5EF4-FFF2-40B4-BE49-F238E27FC236}">
                    <a16:creationId xmlns:a16="http://schemas.microsoft.com/office/drawing/2014/main" id="{7BFC0BBA-61D7-4242-B134-2CAB27EDF598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2399260" y="3651870"/>
                <a:ext cx="1368815" cy="4586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20000"/>
                  </a:spcBef>
                  <a:buFont typeface="Arial" panose="020B0604020202020204" pitchFamily="34" charset="0"/>
                  <a:buNone/>
                </a:pPr>
                <a:r>
                  <a:rPr lang="en-US" altLang="zh-CN" sz="2000">
                    <a:solidFill>
                      <a:schemeClr val="accent2"/>
                    </a:solidFill>
                    <a:latin typeface="Roboto" panose="02000000000000000000" pitchFamily="2" charset="0"/>
                  </a:rPr>
                  <a:t>$</a:t>
                </a:r>
                <a:r>
                  <a:rPr lang="id-ID" altLang="zh-CN" sz="2000">
                    <a:solidFill>
                      <a:schemeClr val="accent2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25</a:t>
                </a:r>
                <a:r>
                  <a:rPr lang="en-US" altLang="zh-CN" sz="2000">
                    <a:solidFill>
                      <a:schemeClr val="accent2"/>
                    </a:solidFill>
                    <a:latin typeface="Roboto" panose="02000000000000000000" pitchFamily="2" charset="0"/>
                  </a:rPr>
                  <a:t>,</a:t>
                </a:r>
                <a:r>
                  <a:rPr lang="id-ID" altLang="zh-CN" sz="2000">
                    <a:solidFill>
                      <a:schemeClr val="accent2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100</a:t>
                </a:r>
                <a:endParaRPr lang="en-US" altLang="zh-CN" sz="2000">
                  <a:solidFill>
                    <a:schemeClr val="accent2"/>
                  </a:solidFill>
                  <a:latin typeface="Roboto" panose="02000000000000000000" pitchFamily="2" charset="0"/>
                </a:endParaRPr>
              </a:p>
            </p:txBody>
          </p:sp>
          <p:sp>
            <p:nvSpPr>
              <p:cNvPr id="30" name="Content Placeholder 2">
                <a:extLst>
                  <a:ext uri="{FF2B5EF4-FFF2-40B4-BE49-F238E27FC236}">
                    <a16:creationId xmlns:a16="http://schemas.microsoft.com/office/drawing/2014/main" id="{60570757-5A94-4794-9694-651D07B8326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343409" y="3912463"/>
                <a:ext cx="1480516" cy="330508"/>
              </a:xfrm>
              <a:prstGeom prst="rect">
                <a:avLst/>
              </a:prstGeom>
            </p:spPr>
            <p:txBody>
              <a:bodyPr/>
              <a:lstStyle>
                <a:lvl1pPr marL="342900" indent="-3429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2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1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»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fontAlgn="auto">
                  <a:spcAft>
                    <a:spcPts val="0"/>
                  </a:spcAft>
                  <a:buFont typeface="Arial" pitchFamily="34" charset="0"/>
                  <a:buNone/>
                  <a:defRPr/>
                </a:pPr>
                <a:r>
                  <a:rPr lang="en-US" sz="1200" b="1" dirty="0">
                    <a:solidFill>
                      <a:schemeClr val="bg1">
                        <a:lumMod val="50000"/>
                      </a:schemeClr>
                    </a:solidFill>
                  </a:rPr>
                  <a:t>Revenue</a:t>
                </a:r>
              </a:p>
            </p:txBody>
          </p:sp>
        </p:grpSp>
      </p:grpSp>
      <p:grpSp>
        <p:nvGrpSpPr>
          <p:cNvPr id="31" name="Group 31">
            <a:extLst>
              <a:ext uri="{FF2B5EF4-FFF2-40B4-BE49-F238E27FC236}">
                <a16:creationId xmlns:a16="http://schemas.microsoft.com/office/drawing/2014/main" id="{16C3C5AC-5715-4675-A7B4-82964B8AD982}"/>
              </a:ext>
            </a:extLst>
          </p:cNvPr>
          <p:cNvGrpSpPr>
            <a:grpSpLocks/>
          </p:cNvGrpSpPr>
          <p:nvPr/>
        </p:nvGrpSpPr>
        <p:grpSpPr bwMode="auto">
          <a:xfrm>
            <a:off x="2821682" y="4545290"/>
            <a:ext cx="1479550" cy="1055687"/>
            <a:chOff x="643212" y="3398474"/>
            <a:chExt cx="1480516" cy="1055083"/>
          </a:xfrm>
        </p:grpSpPr>
        <p:sp>
          <p:nvSpPr>
            <p:cNvPr id="32" name="Content Placeholder 2">
              <a:extLst>
                <a:ext uri="{FF2B5EF4-FFF2-40B4-BE49-F238E27FC236}">
                  <a16:creationId xmlns:a16="http://schemas.microsoft.com/office/drawing/2014/main" id="{8F527BC8-E911-44CD-B44A-DDE78CAB3AA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97520" y="3902530"/>
              <a:ext cx="1371900" cy="5510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en-US" altLang="zh-CN" sz="800">
                  <a:solidFill>
                    <a:srgbClr val="A6A6A6"/>
                  </a:solidFill>
                </a:rPr>
                <a:t>Lorem ipsum dolor sit amet, consectetur adipiscing.</a:t>
              </a:r>
            </a:p>
          </p:txBody>
        </p:sp>
        <p:grpSp>
          <p:nvGrpSpPr>
            <p:cNvPr id="33" name="Group 33">
              <a:extLst>
                <a:ext uri="{FF2B5EF4-FFF2-40B4-BE49-F238E27FC236}">
                  <a16:creationId xmlns:a16="http://schemas.microsoft.com/office/drawing/2014/main" id="{B2EE0FA7-3920-44F1-AFD7-A348DBD9A51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43212" y="3398474"/>
              <a:ext cx="1480516" cy="590694"/>
              <a:chOff x="2343409" y="3651870"/>
              <a:chExt cx="1480516" cy="590694"/>
            </a:xfrm>
          </p:grpSpPr>
          <p:sp>
            <p:nvSpPr>
              <p:cNvPr id="34" name="Content Placeholder 2">
                <a:extLst>
                  <a:ext uri="{FF2B5EF4-FFF2-40B4-BE49-F238E27FC236}">
                    <a16:creationId xmlns:a16="http://schemas.microsoft.com/office/drawing/2014/main" id="{2E7283A1-4D12-4C61-8555-392792DEA42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399008" y="3651870"/>
                <a:ext cx="1369318" cy="458525"/>
              </a:xfrm>
              <a:prstGeom prst="rect">
                <a:avLst/>
              </a:prstGeom>
            </p:spPr>
            <p:txBody>
              <a:bodyPr/>
              <a:lstStyle>
                <a:lvl1pPr marL="342900" indent="-3429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2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1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»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fontAlgn="auto">
                  <a:spcAft>
                    <a:spcPts val="0"/>
                  </a:spcAft>
                  <a:buFont typeface="Arial" pitchFamily="34" charset="0"/>
                  <a:buNone/>
                  <a:defRPr/>
                </a:pPr>
                <a:r>
                  <a:rPr lang="en-US" sz="2000" dirty="0">
                    <a:solidFill>
                      <a:schemeClr val="accent5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$</a:t>
                </a:r>
                <a:r>
                  <a:rPr lang="id-ID" sz="2000" dirty="0">
                    <a:solidFill>
                      <a:schemeClr val="accent5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34</a:t>
                </a:r>
                <a:r>
                  <a:rPr lang="en-US" sz="2000" dirty="0">
                    <a:solidFill>
                      <a:schemeClr val="accent5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,</a:t>
                </a:r>
                <a:r>
                  <a:rPr lang="id-ID" sz="2000" dirty="0">
                    <a:solidFill>
                      <a:schemeClr val="accent5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522</a:t>
                </a:r>
                <a:endParaRPr lang="en-US" sz="2000" dirty="0">
                  <a:solidFill>
                    <a:schemeClr val="accent5"/>
                  </a:solidFill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35" name="Content Placeholder 2">
                <a:extLst>
                  <a:ext uri="{FF2B5EF4-FFF2-40B4-BE49-F238E27FC236}">
                    <a16:creationId xmlns:a16="http://schemas.microsoft.com/office/drawing/2014/main" id="{D6BBABA8-48BB-4DF4-A654-DA010FE826D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343409" y="3912071"/>
                <a:ext cx="1480516" cy="330011"/>
              </a:xfrm>
              <a:prstGeom prst="rect">
                <a:avLst/>
              </a:prstGeom>
            </p:spPr>
            <p:txBody>
              <a:bodyPr/>
              <a:lstStyle>
                <a:lvl1pPr marL="342900" indent="-3429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2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1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»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fontAlgn="auto">
                  <a:spcAft>
                    <a:spcPts val="0"/>
                  </a:spcAft>
                  <a:buFont typeface="Arial" pitchFamily="34" charset="0"/>
                  <a:buNone/>
                  <a:defRPr/>
                </a:pPr>
                <a:r>
                  <a:rPr lang="en-US" sz="1200" b="1" dirty="0">
                    <a:solidFill>
                      <a:schemeClr val="bg1">
                        <a:lumMod val="50000"/>
                      </a:schemeClr>
                    </a:solidFill>
                  </a:rPr>
                  <a:t>Revenue</a:t>
                </a:r>
              </a:p>
            </p:txBody>
          </p:sp>
        </p:grpSp>
      </p:grpSp>
      <p:grpSp>
        <p:nvGrpSpPr>
          <p:cNvPr id="36" name="Group 36">
            <a:extLst>
              <a:ext uri="{FF2B5EF4-FFF2-40B4-BE49-F238E27FC236}">
                <a16:creationId xmlns:a16="http://schemas.microsoft.com/office/drawing/2014/main" id="{868DC78C-33D6-471F-B428-2BF34FFF29C7}"/>
              </a:ext>
            </a:extLst>
          </p:cNvPr>
          <p:cNvGrpSpPr>
            <a:grpSpLocks/>
          </p:cNvGrpSpPr>
          <p:nvPr/>
        </p:nvGrpSpPr>
        <p:grpSpPr bwMode="auto">
          <a:xfrm>
            <a:off x="6398320" y="1991002"/>
            <a:ext cx="4487862" cy="949325"/>
            <a:chOff x="5891539" y="1193290"/>
            <a:chExt cx="4486782" cy="949274"/>
          </a:xfrm>
        </p:grpSpPr>
        <p:grpSp>
          <p:nvGrpSpPr>
            <p:cNvPr id="37" name="Group 37">
              <a:extLst>
                <a:ext uri="{FF2B5EF4-FFF2-40B4-BE49-F238E27FC236}">
                  <a16:creationId xmlns:a16="http://schemas.microsoft.com/office/drawing/2014/main" id="{C2DE76D1-584C-48A0-91DD-CA9E1B2F7E4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91539" y="1627409"/>
              <a:ext cx="1606953" cy="515155"/>
              <a:chOff x="7794624" y="2150772"/>
              <a:chExt cx="1606953" cy="515155"/>
            </a:xfrm>
          </p:grpSpPr>
          <p:cxnSp>
            <p:nvCxnSpPr>
              <p:cNvPr id="39" name="Straight Connector 39">
                <a:extLst>
                  <a:ext uri="{FF2B5EF4-FFF2-40B4-BE49-F238E27FC236}">
                    <a16:creationId xmlns:a16="http://schemas.microsoft.com/office/drawing/2014/main" id="{9DCB0F50-FEE3-4569-A261-A2BB280FAB27}"/>
                  </a:ext>
                </a:extLst>
              </p:cNvPr>
              <p:cNvCxnSpPr/>
              <p:nvPr/>
            </p:nvCxnSpPr>
            <p:spPr>
              <a:xfrm flipV="1">
                <a:off x="7794624" y="2150018"/>
                <a:ext cx="220609" cy="515909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40">
                <a:extLst>
                  <a:ext uri="{FF2B5EF4-FFF2-40B4-BE49-F238E27FC236}">
                    <a16:creationId xmlns:a16="http://schemas.microsoft.com/office/drawing/2014/main" id="{639ECA3D-AF36-41CD-A466-CCF5741BFC69}"/>
                  </a:ext>
                </a:extLst>
              </p:cNvPr>
              <p:cNvCxnSpPr/>
              <p:nvPr/>
            </p:nvCxnSpPr>
            <p:spPr>
              <a:xfrm>
                <a:off x="8015233" y="2153193"/>
                <a:ext cx="1385554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8" name="Content Placeholder 2">
              <a:extLst>
                <a:ext uri="{FF2B5EF4-FFF2-40B4-BE49-F238E27FC236}">
                  <a16:creationId xmlns:a16="http://schemas.microsoft.com/office/drawing/2014/main" id="{F31F7F3E-90CA-4A6C-812B-679E5FB81BC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678645" y="1193290"/>
              <a:ext cx="2699676" cy="890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rgbClr val="A6A6A6"/>
                  </a:solidFill>
                </a:rPr>
                <a:t>Final Project</a:t>
              </a:r>
              <a:r>
                <a:rPr lang="en-US" altLang="zh-CN" sz="1400" b="1">
                  <a:solidFill>
                    <a:srgbClr val="A6A6A6"/>
                  </a:solidFill>
                </a:rPr>
                <a:t/>
              </a:r>
              <a:br>
                <a:rPr lang="en-US" altLang="zh-CN" sz="1400" b="1">
                  <a:solidFill>
                    <a:srgbClr val="A6A6A6"/>
                  </a:solidFill>
                </a:rPr>
              </a:br>
              <a:r>
                <a:rPr lang="en-US" altLang="zh-CN" sz="1100">
                  <a:solidFill>
                    <a:srgbClr val="A6A6A6"/>
                  </a:solidFill>
                </a:rPr>
                <a:t>Lorem ipsum dolor sit amet, consectetur adipiscing elit. Curabitur elementum posuere pretium. </a:t>
              </a:r>
            </a:p>
          </p:txBody>
        </p:sp>
      </p:grpSp>
      <p:grpSp>
        <p:nvGrpSpPr>
          <p:cNvPr id="41" name="Group 41">
            <a:extLst>
              <a:ext uri="{FF2B5EF4-FFF2-40B4-BE49-F238E27FC236}">
                <a16:creationId xmlns:a16="http://schemas.microsoft.com/office/drawing/2014/main" id="{0A44E715-4BCB-4837-893F-EFE6C6DCC3B4}"/>
              </a:ext>
            </a:extLst>
          </p:cNvPr>
          <p:cNvGrpSpPr>
            <a:grpSpLocks/>
          </p:cNvGrpSpPr>
          <p:nvPr/>
        </p:nvGrpSpPr>
        <p:grpSpPr bwMode="auto">
          <a:xfrm>
            <a:off x="6628507" y="5366027"/>
            <a:ext cx="4487863" cy="990600"/>
            <a:chOff x="5891539" y="1092425"/>
            <a:chExt cx="4486782" cy="990904"/>
          </a:xfrm>
        </p:grpSpPr>
        <p:grpSp>
          <p:nvGrpSpPr>
            <p:cNvPr id="42" name="Group 42">
              <a:extLst>
                <a:ext uri="{FF2B5EF4-FFF2-40B4-BE49-F238E27FC236}">
                  <a16:creationId xmlns:a16="http://schemas.microsoft.com/office/drawing/2014/main" id="{F28F2C13-E17B-4D22-BE09-085C0E4A7C5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91539" y="1092425"/>
              <a:ext cx="1606953" cy="538575"/>
              <a:chOff x="7794624" y="1615788"/>
              <a:chExt cx="1606953" cy="538575"/>
            </a:xfrm>
          </p:grpSpPr>
          <p:cxnSp>
            <p:nvCxnSpPr>
              <p:cNvPr id="44" name="Straight Connector 44">
                <a:extLst>
                  <a:ext uri="{FF2B5EF4-FFF2-40B4-BE49-F238E27FC236}">
                    <a16:creationId xmlns:a16="http://schemas.microsoft.com/office/drawing/2014/main" id="{4C1DDF1E-D7FD-413F-B59C-8A7751CC6581}"/>
                  </a:ext>
                </a:extLst>
              </p:cNvPr>
              <p:cNvCxnSpPr/>
              <p:nvPr/>
            </p:nvCxnSpPr>
            <p:spPr>
              <a:xfrm flipH="1" flipV="1">
                <a:off x="7794624" y="1615788"/>
                <a:ext cx="220610" cy="514508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5">
                <a:extLst>
                  <a:ext uri="{FF2B5EF4-FFF2-40B4-BE49-F238E27FC236}">
                    <a16:creationId xmlns:a16="http://schemas.microsoft.com/office/drawing/2014/main" id="{DC22E9B0-5662-44B7-9E76-0C3605B93898}"/>
                  </a:ext>
                </a:extLst>
              </p:cNvPr>
              <p:cNvCxnSpPr/>
              <p:nvPr/>
            </p:nvCxnSpPr>
            <p:spPr>
              <a:xfrm>
                <a:off x="8015234" y="2154116"/>
                <a:ext cx="1385553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3" name="Content Placeholder 2">
              <a:extLst>
                <a:ext uri="{FF2B5EF4-FFF2-40B4-BE49-F238E27FC236}">
                  <a16:creationId xmlns:a16="http://schemas.microsoft.com/office/drawing/2014/main" id="{0F27CC63-D05D-406D-B55D-B6319B665A8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678645" y="1193290"/>
              <a:ext cx="2699676" cy="890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rgbClr val="A6A6A6"/>
                  </a:solidFill>
                </a:rPr>
                <a:t>Bottom Idea</a:t>
              </a:r>
              <a:r>
                <a:rPr lang="en-US" altLang="zh-CN" sz="1400" b="1">
                  <a:solidFill>
                    <a:srgbClr val="A6A6A6"/>
                  </a:solidFill>
                </a:rPr>
                <a:t/>
              </a:r>
              <a:br>
                <a:rPr lang="en-US" altLang="zh-CN" sz="1400" b="1">
                  <a:solidFill>
                    <a:srgbClr val="A6A6A6"/>
                  </a:solidFill>
                </a:rPr>
              </a:br>
              <a:r>
                <a:rPr lang="en-US" altLang="zh-CN" sz="1100">
                  <a:solidFill>
                    <a:srgbClr val="A6A6A6"/>
                  </a:solidFill>
                </a:rPr>
                <a:t>Lorem ipsum dolor sit amet, consectetur adipiscing elit. Curabitur elementum posuere pretium. </a:t>
              </a:r>
            </a:p>
          </p:txBody>
        </p:sp>
      </p:grpSp>
      <p:grpSp>
        <p:nvGrpSpPr>
          <p:cNvPr id="46" name="Group 46">
            <a:extLst>
              <a:ext uri="{FF2B5EF4-FFF2-40B4-BE49-F238E27FC236}">
                <a16:creationId xmlns:a16="http://schemas.microsoft.com/office/drawing/2014/main" id="{DAE8DA6F-6000-41C6-B11F-AE733DE4F47D}"/>
              </a:ext>
            </a:extLst>
          </p:cNvPr>
          <p:cNvGrpSpPr>
            <a:grpSpLocks/>
          </p:cNvGrpSpPr>
          <p:nvPr/>
        </p:nvGrpSpPr>
        <p:grpSpPr bwMode="auto">
          <a:xfrm>
            <a:off x="934145" y="5481915"/>
            <a:ext cx="4381500" cy="1076325"/>
            <a:chOff x="9630" y="5086811"/>
            <a:chExt cx="4380610" cy="1076109"/>
          </a:xfrm>
        </p:grpSpPr>
        <p:grpSp>
          <p:nvGrpSpPr>
            <p:cNvPr id="47" name="Group 47">
              <a:extLst>
                <a:ext uri="{FF2B5EF4-FFF2-40B4-BE49-F238E27FC236}">
                  <a16:creationId xmlns:a16="http://schemas.microsoft.com/office/drawing/2014/main" id="{EEF720D2-7969-4DE3-944E-5CB6FCF4A022}"/>
                </a:ext>
              </a:extLst>
            </p:cNvPr>
            <p:cNvGrpSpPr>
              <a:grpSpLocks/>
            </p:cNvGrpSpPr>
            <p:nvPr/>
          </p:nvGrpSpPr>
          <p:grpSpPr bwMode="auto">
            <a:xfrm flipH="1">
              <a:off x="2783287" y="5086811"/>
              <a:ext cx="1606953" cy="538575"/>
              <a:chOff x="7794624" y="1615788"/>
              <a:chExt cx="1606953" cy="538575"/>
            </a:xfrm>
          </p:grpSpPr>
          <p:cxnSp>
            <p:nvCxnSpPr>
              <p:cNvPr id="49" name="Straight Connector 49">
                <a:extLst>
                  <a:ext uri="{FF2B5EF4-FFF2-40B4-BE49-F238E27FC236}">
                    <a16:creationId xmlns:a16="http://schemas.microsoft.com/office/drawing/2014/main" id="{9A74BC1E-CD43-408F-959C-6B8A5EFF0DD6}"/>
                  </a:ext>
                </a:extLst>
              </p:cNvPr>
              <p:cNvCxnSpPr/>
              <p:nvPr/>
            </p:nvCxnSpPr>
            <p:spPr>
              <a:xfrm flipH="1" flipV="1">
                <a:off x="7794624" y="1615788"/>
                <a:ext cx="220618" cy="514247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50">
                <a:extLst>
                  <a:ext uri="{FF2B5EF4-FFF2-40B4-BE49-F238E27FC236}">
                    <a16:creationId xmlns:a16="http://schemas.microsoft.com/office/drawing/2014/main" id="{27CE078E-406D-45FD-9C2F-FFF6C82F73CB}"/>
                  </a:ext>
                </a:extLst>
              </p:cNvPr>
              <p:cNvCxnSpPr/>
              <p:nvPr/>
            </p:nvCxnSpPr>
            <p:spPr>
              <a:xfrm>
                <a:off x="8015242" y="2153842"/>
                <a:ext cx="1385606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Content Placeholder 2">
              <a:extLst>
                <a:ext uri="{FF2B5EF4-FFF2-40B4-BE49-F238E27FC236}">
                  <a16:creationId xmlns:a16="http://schemas.microsoft.com/office/drawing/2014/main" id="{CDD2571B-7554-4199-86EF-041F2A115FD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630" y="5272881"/>
              <a:ext cx="2699676" cy="890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rgbClr val="A6A6A6"/>
                  </a:solidFill>
                </a:rPr>
                <a:t>Bottom Idea</a:t>
              </a:r>
              <a:r>
                <a:rPr lang="en-US" altLang="zh-CN" sz="1400" b="1">
                  <a:solidFill>
                    <a:srgbClr val="A6A6A6"/>
                  </a:solidFill>
                </a:rPr>
                <a:t/>
              </a:r>
              <a:br>
                <a:rPr lang="en-US" altLang="zh-CN" sz="1400" b="1">
                  <a:solidFill>
                    <a:srgbClr val="A6A6A6"/>
                  </a:solidFill>
                </a:rPr>
              </a:br>
              <a:r>
                <a:rPr lang="en-US" altLang="zh-CN" sz="1100">
                  <a:solidFill>
                    <a:srgbClr val="A6A6A6"/>
                  </a:solidFill>
                </a:rPr>
                <a:t>Lorem ipsum dolor sit amet, consectetur adipiscing elit. Curabitur elementum posuere pretium. </a:t>
              </a:r>
            </a:p>
          </p:txBody>
        </p:sp>
      </p:grpSp>
      <p:grpSp>
        <p:nvGrpSpPr>
          <p:cNvPr id="51" name="Group 51">
            <a:extLst>
              <a:ext uri="{FF2B5EF4-FFF2-40B4-BE49-F238E27FC236}">
                <a16:creationId xmlns:a16="http://schemas.microsoft.com/office/drawing/2014/main" id="{0AA737E1-A02B-4454-AE03-00778FEEEA7E}"/>
              </a:ext>
            </a:extLst>
          </p:cNvPr>
          <p:cNvGrpSpPr>
            <a:grpSpLocks/>
          </p:cNvGrpSpPr>
          <p:nvPr/>
        </p:nvGrpSpPr>
        <p:grpSpPr bwMode="auto">
          <a:xfrm>
            <a:off x="1005582" y="1686202"/>
            <a:ext cx="4098925" cy="903288"/>
            <a:chOff x="10029" y="2066885"/>
            <a:chExt cx="4098608" cy="903343"/>
          </a:xfrm>
        </p:grpSpPr>
        <p:grpSp>
          <p:nvGrpSpPr>
            <p:cNvPr id="52" name="Group 52">
              <a:extLst>
                <a:ext uri="{FF2B5EF4-FFF2-40B4-BE49-F238E27FC236}">
                  <a16:creationId xmlns:a16="http://schemas.microsoft.com/office/drawing/2014/main" id="{5C020CFC-9C3A-466D-88D7-73C3FE8A83C0}"/>
                </a:ext>
              </a:extLst>
            </p:cNvPr>
            <p:cNvGrpSpPr>
              <a:grpSpLocks/>
            </p:cNvGrpSpPr>
            <p:nvPr/>
          </p:nvGrpSpPr>
          <p:grpSpPr bwMode="auto">
            <a:xfrm flipH="1">
              <a:off x="2760127" y="2440861"/>
              <a:ext cx="1348510" cy="515155"/>
              <a:chOff x="7794624" y="2150772"/>
              <a:chExt cx="1606953" cy="515155"/>
            </a:xfrm>
          </p:grpSpPr>
          <p:cxnSp>
            <p:nvCxnSpPr>
              <p:cNvPr id="54" name="Straight Connector 54">
                <a:extLst>
                  <a:ext uri="{FF2B5EF4-FFF2-40B4-BE49-F238E27FC236}">
                    <a16:creationId xmlns:a16="http://schemas.microsoft.com/office/drawing/2014/main" id="{78485114-68E4-42FC-A1A0-3BFC1FCDB527}"/>
                  </a:ext>
                </a:extLst>
              </p:cNvPr>
              <p:cNvCxnSpPr/>
              <p:nvPr/>
            </p:nvCxnSpPr>
            <p:spPr>
              <a:xfrm flipV="1">
                <a:off x="7794624" y="2151469"/>
                <a:ext cx="221317" cy="514381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5">
                <a:extLst>
                  <a:ext uri="{FF2B5EF4-FFF2-40B4-BE49-F238E27FC236}">
                    <a16:creationId xmlns:a16="http://schemas.microsoft.com/office/drawing/2014/main" id="{E862CCC5-21E7-4E70-856C-12460201DDB4}"/>
                  </a:ext>
                </a:extLst>
              </p:cNvPr>
              <p:cNvCxnSpPr/>
              <p:nvPr/>
            </p:nvCxnSpPr>
            <p:spPr>
              <a:xfrm>
                <a:off x="8015941" y="2154644"/>
                <a:ext cx="1386543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3" name="Content Placeholder 2">
              <a:extLst>
                <a:ext uri="{FF2B5EF4-FFF2-40B4-BE49-F238E27FC236}">
                  <a16:creationId xmlns:a16="http://schemas.microsoft.com/office/drawing/2014/main" id="{87E229A4-FCCE-4BDB-9BA1-26E7424BD2D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029" y="2066885"/>
              <a:ext cx="2699676" cy="903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rgbClr val="A6A6A6"/>
                  </a:solidFill>
                </a:rPr>
                <a:t>Development Code</a:t>
              </a:r>
              <a:r>
                <a:rPr lang="en-US" altLang="zh-CN" sz="1400" b="1">
                  <a:solidFill>
                    <a:srgbClr val="A6A6A6"/>
                  </a:solidFill>
                </a:rPr>
                <a:t/>
              </a:r>
              <a:br>
                <a:rPr lang="en-US" altLang="zh-CN" sz="1400" b="1">
                  <a:solidFill>
                    <a:srgbClr val="A6A6A6"/>
                  </a:solidFill>
                </a:rPr>
              </a:br>
              <a:r>
                <a:rPr lang="en-US" altLang="zh-CN" sz="1100">
                  <a:solidFill>
                    <a:srgbClr val="A6A6A6"/>
                  </a:solidFill>
                </a:rPr>
                <a:t>Lorem ipsum dolor sit amet, consectetur adipiscing elit. Curabitur elementum posuere pretium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14811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A7E1E155-52C6-46BE-BC18-ACC131833C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4930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文本框 15">
            <a:extLst>
              <a:ext uri="{FF2B5EF4-FFF2-40B4-BE49-F238E27FC236}">
                <a16:creationId xmlns:a16="http://schemas.microsoft.com/office/drawing/2014/main" id="{62A74F62-87BB-4D77-849A-C129FC951D5C}"/>
              </a:ext>
            </a:extLst>
          </p:cNvPr>
          <p:cNvSpPr txBox="1"/>
          <p:nvPr/>
        </p:nvSpPr>
        <p:spPr>
          <a:xfrm>
            <a:off x="1226422" y="1048543"/>
            <a:ext cx="5041765" cy="42165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判断哪些可以使用耦合型关系图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1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支持“大学生创业利大于弊”的三个论点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2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某种材料的四个主要化学成分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3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介绍一种产品的四个分销渠道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4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西北五省的汽车保有量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5 PM2.5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的几个主要致因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6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导致某次交通事故的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5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个原因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E75174E6-3675-4C2D-98EE-08C92F7C7347}"/>
              </a:ext>
            </a:extLst>
          </p:cNvPr>
          <p:cNvSpPr txBox="1"/>
          <p:nvPr/>
        </p:nvSpPr>
        <p:spPr>
          <a:xfrm>
            <a:off x="6819354" y="1779307"/>
            <a:ext cx="3246402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7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某项目组的三个核心部门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8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小说的三要素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9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四大名著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69575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4657176" y="2646523"/>
            <a:ext cx="3005951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适用情况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强调事件之间的紧密联系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41135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028133" y="2045269"/>
            <a:ext cx="6837128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注意事项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1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用标题讲明白内在联系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2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形状之间不要叠加，不要让观众误认为是韦恩</a:t>
            </a: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图或者饼图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3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耦合与并列的区别：并列强调内容，耦合强调关系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17185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对象 33" hidden="1">
            <a:extLst>
              <a:ext uri="{FF2B5EF4-FFF2-40B4-BE49-F238E27FC236}">
                <a16:creationId xmlns:a16="http://schemas.microsoft.com/office/drawing/2014/main" id="{817D4C47-1A96-4BA4-A462-C1796407368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9263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6" imgW="262" imgH="262" progId="TCLayout.ActiveDocument.1">
                  <p:embed/>
                </p:oleObj>
              </mc:Choice>
              <mc:Fallback>
                <p:oleObj name="think-cell Slide" r:id="rId6" imgW="262" imgH="262" progId="TCLayout.ActiveDocument.1">
                  <p:embed/>
                  <p:pic>
                    <p:nvPicPr>
                      <p:cNvPr id="34" name="对象 33" hidden="1">
                        <a:extLst>
                          <a:ext uri="{FF2B5EF4-FFF2-40B4-BE49-F238E27FC236}">
                            <a16:creationId xmlns:a16="http://schemas.microsoft.com/office/drawing/2014/main" id="{817D4C47-1A96-4BA4-A462-C179640736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73" r="5366" b="8351"/>
          <a:stretch/>
        </p:blipFill>
        <p:spPr>
          <a:xfrm>
            <a:off x="1802124" y="1411549"/>
            <a:ext cx="8664649" cy="409260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32756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对象 33" hidden="1">
            <a:extLst>
              <a:ext uri="{FF2B5EF4-FFF2-40B4-BE49-F238E27FC236}">
                <a16:creationId xmlns:a16="http://schemas.microsoft.com/office/drawing/2014/main" id="{817D4C47-1A96-4BA4-A462-C1796407368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9263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6" imgW="262" imgH="262" progId="TCLayout.ActiveDocument.1">
                  <p:embed/>
                </p:oleObj>
              </mc:Choice>
              <mc:Fallback>
                <p:oleObj name="think-cell Slide" r:id="rId6" imgW="262" imgH="262" progId="TCLayout.ActiveDocument.1">
                  <p:embed/>
                  <p:pic>
                    <p:nvPicPr>
                      <p:cNvPr id="34" name="对象 33" hidden="1">
                        <a:extLst>
                          <a:ext uri="{FF2B5EF4-FFF2-40B4-BE49-F238E27FC236}">
                            <a16:creationId xmlns:a16="http://schemas.microsoft.com/office/drawing/2014/main" id="{817D4C47-1A96-4BA4-A462-C179640736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8508" y="844072"/>
            <a:ext cx="6973965" cy="523047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581581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对象 33" hidden="1">
            <a:extLst>
              <a:ext uri="{FF2B5EF4-FFF2-40B4-BE49-F238E27FC236}">
                <a16:creationId xmlns:a16="http://schemas.microsoft.com/office/drawing/2014/main" id="{817D4C47-1A96-4BA4-A462-C1796407368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9263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6" imgW="262" imgH="262" progId="TCLayout.ActiveDocument.1">
                  <p:embed/>
                </p:oleObj>
              </mc:Choice>
              <mc:Fallback>
                <p:oleObj name="think-cell Slide" r:id="rId6" imgW="262" imgH="2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Group 22">
            <a:extLst>
              <a:ext uri="{FF2B5EF4-FFF2-40B4-BE49-F238E27FC236}">
                <a16:creationId xmlns:a16="http://schemas.microsoft.com/office/drawing/2014/main" id="{D54D0CC3-1B4E-4A95-B0D7-E18200F12337}"/>
              </a:ext>
            </a:extLst>
          </p:cNvPr>
          <p:cNvGrpSpPr>
            <a:grpSpLocks/>
          </p:cNvGrpSpPr>
          <p:nvPr/>
        </p:nvGrpSpPr>
        <p:grpSpPr bwMode="auto">
          <a:xfrm>
            <a:off x="3592065" y="1134261"/>
            <a:ext cx="4872038" cy="4725987"/>
            <a:chOff x="1212938" y="1472114"/>
            <a:chExt cx="4871748" cy="4725956"/>
          </a:xfrm>
        </p:grpSpPr>
        <p:sp>
          <p:nvSpPr>
            <p:cNvPr id="33" name="Ellipse 3">
              <a:extLst>
                <a:ext uri="{FF2B5EF4-FFF2-40B4-BE49-F238E27FC236}">
                  <a16:creationId xmlns:a16="http://schemas.microsoft.com/office/drawing/2014/main" id="{5CC1F9A5-EA40-4236-AE0E-86B2DC1A4F06}"/>
                </a:ext>
              </a:extLst>
            </p:cNvPr>
            <p:cNvSpPr/>
            <p:nvPr/>
          </p:nvSpPr>
          <p:spPr>
            <a:xfrm>
              <a:off x="2551121" y="2834180"/>
              <a:ext cx="2092200" cy="2090723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31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altLang="zh-CN" sz="3200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endParaRPr>
            </a:p>
          </p:txBody>
        </p:sp>
        <p:sp>
          <p:nvSpPr>
            <p:cNvPr id="35" name="Ellipse 1">
              <a:extLst>
                <a:ext uri="{FF2B5EF4-FFF2-40B4-BE49-F238E27FC236}">
                  <a16:creationId xmlns:a16="http://schemas.microsoft.com/office/drawing/2014/main" id="{58B95FCF-E035-4500-9DA2-0DF3004FD2B0}"/>
                </a:ext>
              </a:extLst>
            </p:cNvPr>
            <p:cNvSpPr/>
            <p:nvPr/>
          </p:nvSpPr>
          <p:spPr bwMode="auto">
            <a:xfrm>
              <a:off x="2917812" y="1472114"/>
              <a:ext cx="1404854" cy="1216017"/>
            </a:xfrm>
            <a:custGeom>
              <a:avLst/>
              <a:gdLst/>
              <a:ahLst/>
              <a:cxnLst/>
              <a:rect l="l" t="t" r="r" b="b"/>
              <a:pathLst>
                <a:path w="1881327" h="1627643">
                  <a:moveTo>
                    <a:pt x="909737" y="0"/>
                  </a:moveTo>
                  <a:cubicBezTo>
                    <a:pt x="1446331" y="0"/>
                    <a:pt x="1881327" y="434996"/>
                    <a:pt x="1881327" y="971590"/>
                  </a:cubicBezTo>
                  <a:cubicBezTo>
                    <a:pt x="1881327" y="1225467"/>
                    <a:pt x="1783954" y="1456601"/>
                    <a:pt x="1622304" y="1627643"/>
                  </a:cubicBezTo>
                  <a:cubicBezTo>
                    <a:pt x="1407823" y="1531333"/>
                    <a:pt x="1169935" y="1478429"/>
                    <a:pt x="919691" y="1478429"/>
                  </a:cubicBezTo>
                  <a:cubicBezTo>
                    <a:pt x="752338" y="1478429"/>
                    <a:pt x="590510" y="1502090"/>
                    <a:pt x="437764" y="1547609"/>
                  </a:cubicBezTo>
                  <a:cubicBezTo>
                    <a:pt x="439086" y="1543067"/>
                    <a:pt x="439528" y="1538427"/>
                    <a:pt x="439938" y="1533777"/>
                  </a:cubicBezTo>
                  <a:cubicBezTo>
                    <a:pt x="472664" y="1162783"/>
                    <a:pt x="292347" y="822130"/>
                    <a:pt x="0" y="633018"/>
                  </a:cubicBezTo>
                  <a:cubicBezTo>
                    <a:pt x="136468" y="263166"/>
                    <a:pt x="492370" y="0"/>
                    <a:pt x="909737" y="0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 defTabSz="914377" eaLnBrk="1" hangingPunct="1">
                <a:defRPr/>
              </a:pPr>
              <a:endParaRPr lang="en-US" sz="1200" b="1" dirty="0">
                <a:latin typeface="Lucida Sans Unicode" pitchFamily="34" charset="0"/>
              </a:endParaRPr>
            </a:p>
          </p:txBody>
        </p:sp>
        <p:sp>
          <p:nvSpPr>
            <p:cNvPr id="36" name="Ellipse 2">
              <a:extLst>
                <a:ext uri="{FF2B5EF4-FFF2-40B4-BE49-F238E27FC236}">
                  <a16:creationId xmlns:a16="http://schemas.microsoft.com/office/drawing/2014/main" id="{D230E133-0F63-4694-81CF-D2C20921F707}"/>
                </a:ext>
              </a:extLst>
            </p:cNvPr>
            <p:cNvSpPr/>
            <p:nvPr/>
          </p:nvSpPr>
          <p:spPr bwMode="auto">
            <a:xfrm rot="21307012">
              <a:off x="4121065" y="1819774"/>
              <a:ext cx="1292148" cy="1450965"/>
            </a:xfrm>
            <a:custGeom>
              <a:avLst/>
              <a:gdLst/>
              <a:ahLst/>
              <a:cxnLst/>
              <a:rect l="l" t="t" r="r" b="b"/>
              <a:pathLst>
                <a:path w="1731010" h="1942872">
                  <a:moveTo>
                    <a:pt x="858760" y="5016"/>
                  </a:moveTo>
                  <a:cubicBezTo>
                    <a:pt x="1348690" y="54771"/>
                    <a:pt x="1731010" y="468533"/>
                    <a:pt x="1731010" y="971590"/>
                  </a:cubicBezTo>
                  <a:cubicBezTo>
                    <a:pt x="1731011" y="1506152"/>
                    <a:pt x="1299302" y="1939885"/>
                    <a:pt x="765509" y="1942872"/>
                  </a:cubicBezTo>
                  <a:cubicBezTo>
                    <a:pt x="615484" y="1581148"/>
                    <a:pt x="345116" y="1278803"/>
                    <a:pt x="0" y="1090065"/>
                  </a:cubicBezTo>
                  <a:cubicBezTo>
                    <a:pt x="173819" y="931818"/>
                    <a:pt x="290325" y="709981"/>
                    <a:pt x="311916" y="457252"/>
                  </a:cubicBezTo>
                  <a:cubicBezTo>
                    <a:pt x="321717" y="342547"/>
                    <a:pt x="311168" y="230797"/>
                    <a:pt x="282160" y="125858"/>
                  </a:cubicBezTo>
                  <a:cubicBezTo>
                    <a:pt x="422873" y="45524"/>
                    <a:pt x="585831" y="0"/>
                    <a:pt x="759421" y="0"/>
                  </a:cubicBezTo>
                  <a:cubicBezTo>
                    <a:pt x="792958" y="0"/>
                    <a:pt x="826098" y="1699"/>
                    <a:pt x="858760" y="5016"/>
                  </a:cubicBezTo>
                  <a:close/>
                </a:path>
              </a:pathLst>
            </a:custGeom>
            <a:solidFill>
              <a:schemeClr val="accent5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 defTabSz="914377" eaLnBrk="1" hangingPunct="1">
                <a:defRPr/>
              </a:pPr>
              <a:endParaRPr lang="en-US" sz="1200" b="1" dirty="0">
                <a:latin typeface="Lucida Sans Unicode" pitchFamily="34" charset="0"/>
              </a:endParaRPr>
            </a:p>
          </p:txBody>
        </p:sp>
        <p:sp>
          <p:nvSpPr>
            <p:cNvPr id="37" name="Ellipse 3">
              <a:extLst>
                <a:ext uri="{FF2B5EF4-FFF2-40B4-BE49-F238E27FC236}">
                  <a16:creationId xmlns:a16="http://schemas.microsoft.com/office/drawing/2014/main" id="{A956A2D1-2171-4CED-B254-B26A127C5182}"/>
                </a:ext>
              </a:extLst>
            </p:cNvPr>
            <p:cNvSpPr/>
            <p:nvPr/>
          </p:nvSpPr>
          <p:spPr bwMode="auto">
            <a:xfrm rot="20990394">
              <a:off x="4768726" y="2840530"/>
              <a:ext cx="1222302" cy="1419216"/>
            </a:xfrm>
            <a:custGeom>
              <a:avLst/>
              <a:gdLst/>
              <a:ahLst/>
              <a:cxnLst/>
              <a:rect l="l" t="t" r="r" b="b"/>
              <a:pathLst>
                <a:path w="1635030" h="1897952">
                  <a:moveTo>
                    <a:pt x="956588" y="0"/>
                  </a:moveTo>
                  <a:cubicBezTo>
                    <a:pt x="1349940" y="124139"/>
                    <a:pt x="1635030" y="491957"/>
                    <a:pt x="1635030" y="926362"/>
                  </a:cubicBezTo>
                  <a:cubicBezTo>
                    <a:pt x="1635030" y="1462956"/>
                    <a:pt x="1200034" y="1897952"/>
                    <a:pt x="663440" y="1897952"/>
                  </a:cubicBezTo>
                  <a:cubicBezTo>
                    <a:pt x="406603" y="1897952"/>
                    <a:pt x="173042" y="1798295"/>
                    <a:pt x="0" y="1634809"/>
                  </a:cubicBezTo>
                  <a:cubicBezTo>
                    <a:pt x="50748" y="1518368"/>
                    <a:pt x="88053" y="1394101"/>
                    <a:pt x="111401" y="1263820"/>
                  </a:cubicBezTo>
                  <a:cubicBezTo>
                    <a:pt x="162526" y="978537"/>
                    <a:pt x="140877" y="697051"/>
                    <a:pt x="58634" y="438772"/>
                  </a:cubicBezTo>
                  <a:cubicBezTo>
                    <a:pt x="428124" y="471037"/>
                    <a:pt x="767689" y="291430"/>
                    <a:pt x="956588" y="0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 defTabSz="914377" eaLnBrk="1" hangingPunct="1">
                <a:defRPr/>
              </a:pPr>
              <a:endParaRPr lang="fr-FR" sz="1200" b="1">
                <a:latin typeface="Lucida Sans Unicode" pitchFamily="34" charset="0"/>
              </a:endParaRPr>
            </a:p>
          </p:txBody>
        </p:sp>
        <p:sp>
          <p:nvSpPr>
            <p:cNvPr id="38" name="Ellipse 4">
              <a:extLst>
                <a:ext uri="{FF2B5EF4-FFF2-40B4-BE49-F238E27FC236}">
                  <a16:creationId xmlns:a16="http://schemas.microsoft.com/office/drawing/2014/main" id="{5C0822CD-D6BE-4738-A5F9-FA715A690779}"/>
                </a:ext>
              </a:extLst>
            </p:cNvPr>
            <p:cNvSpPr/>
            <p:nvPr/>
          </p:nvSpPr>
          <p:spPr bwMode="auto">
            <a:xfrm rot="1800000">
              <a:off x="4544903" y="4080359"/>
              <a:ext cx="1246113" cy="1431916"/>
            </a:xfrm>
            <a:custGeom>
              <a:avLst/>
              <a:gdLst/>
              <a:ahLst/>
              <a:cxnLst/>
              <a:rect l="l" t="t" r="r" b="b"/>
              <a:pathLst>
                <a:path w="1668225" h="1917087">
                  <a:moveTo>
                    <a:pt x="63584" y="420981"/>
                  </a:moveTo>
                  <a:cubicBezTo>
                    <a:pt x="301175" y="436911"/>
                    <a:pt x="544391" y="362470"/>
                    <a:pt x="740979" y="196574"/>
                  </a:cubicBezTo>
                  <a:cubicBezTo>
                    <a:pt x="810270" y="138102"/>
                    <a:pt x="869335" y="72009"/>
                    <a:pt x="917157" y="0"/>
                  </a:cubicBezTo>
                  <a:cubicBezTo>
                    <a:pt x="1347622" y="99043"/>
                    <a:pt x="1668225" y="484830"/>
                    <a:pt x="1668225" y="945497"/>
                  </a:cubicBezTo>
                  <a:cubicBezTo>
                    <a:pt x="1668225" y="1482091"/>
                    <a:pt x="1233229" y="1917087"/>
                    <a:pt x="696635" y="1917087"/>
                  </a:cubicBezTo>
                  <a:cubicBezTo>
                    <a:pt x="423198" y="1917087"/>
                    <a:pt x="176143" y="1804131"/>
                    <a:pt x="0" y="1621933"/>
                  </a:cubicBezTo>
                  <a:cubicBezTo>
                    <a:pt x="162221" y="1248707"/>
                    <a:pt x="190159" y="822130"/>
                    <a:pt x="63584" y="420981"/>
                  </a:cubicBezTo>
                  <a:close/>
                </a:path>
              </a:pathLst>
            </a:custGeom>
            <a:solidFill>
              <a:schemeClr val="accent5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 defTabSz="914377" eaLnBrk="1" hangingPunct="1">
                <a:defRPr/>
              </a:pPr>
              <a:endParaRPr lang="fr-FR" sz="1200" b="1">
                <a:latin typeface="Lucida Sans Unicode" pitchFamily="34" charset="0"/>
              </a:endParaRPr>
            </a:p>
          </p:txBody>
        </p:sp>
        <p:sp>
          <p:nvSpPr>
            <p:cNvPr id="39" name="Ellipse 5">
              <a:extLst>
                <a:ext uri="{FF2B5EF4-FFF2-40B4-BE49-F238E27FC236}">
                  <a16:creationId xmlns:a16="http://schemas.microsoft.com/office/drawing/2014/main" id="{1D707FCA-5F66-4972-9571-247A99539714}"/>
                </a:ext>
              </a:extLst>
            </p:cNvPr>
            <p:cNvSpPr/>
            <p:nvPr/>
          </p:nvSpPr>
          <p:spPr bwMode="auto">
            <a:xfrm rot="1503323">
              <a:off x="3419432" y="4872517"/>
              <a:ext cx="1452477" cy="1325553"/>
            </a:xfrm>
            <a:custGeom>
              <a:avLst/>
              <a:gdLst/>
              <a:ahLst/>
              <a:cxnLst/>
              <a:rect l="l" t="t" r="r" b="b"/>
              <a:pathLst>
                <a:path w="1943180" h="1775308">
                  <a:moveTo>
                    <a:pt x="904367" y="0"/>
                  </a:moveTo>
                  <a:cubicBezTo>
                    <a:pt x="1062994" y="197860"/>
                    <a:pt x="1299569" y="331902"/>
                    <a:pt x="1572225" y="355491"/>
                  </a:cubicBezTo>
                  <a:cubicBezTo>
                    <a:pt x="1659461" y="363038"/>
                    <a:pt x="1745001" y="358812"/>
                    <a:pt x="1827075" y="343010"/>
                  </a:cubicBezTo>
                  <a:cubicBezTo>
                    <a:pt x="1901182" y="480062"/>
                    <a:pt x="1943180" y="636986"/>
                    <a:pt x="1943180" y="803718"/>
                  </a:cubicBezTo>
                  <a:cubicBezTo>
                    <a:pt x="1943180" y="1340312"/>
                    <a:pt x="1508184" y="1775308"/>
                    <a:pt x="971590" y="1775308"/>
                  </a:cubicBezTo>
                  <a:cubicBezTo>
                    <a:pt x="434996" y="1775308"/>
                    <a:pt x="0" y="1340312"/>
                    <a:pt x="0" y="803718"/>
                  </a:cubicBezTo>
                  <a:lnTo>
                    <a:pt x="291" y="799869"/>
                  </a:lnTo>
                  <a:lnTo>
                    <a:pt x="109854" y="755236"/>
                  </a:lnTo>
                  <a:cubicBezTo>
                    <a:pt x="463499" y="589912"/>
                    <a:pt x="735380" y="320692"/>
                    <a:pt x="904367" y="0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 defTabSz="914377" eaLnBrk="1" hangingPunct="1">
                <a:defRPr/>
              </a:pPr>
              <a:endParaRPr lang="fr-FR" sz="1200" b="1" dirty="0">
                <a:latin typeface="Lucida Sans Unicode" pitchFamily="34" charset="0"/>
              </a:endParaRPr>
            </a:p>
          </p:txBody>
        </p:sp>
        <p:sp>
          <p:nvSpPr>
            <p:cNvPr id="40" name="Ellipse 6">
              <a:extLst>
                <a:ext uri="{FF2B5EF4-FFF2-40B4-BE49-F238E27FC236}">
                  <a16:creationId xmlns:a16="http://schemas.microsoft.com/office/drawing/2014/main" id="{60A11A54-D703-4264-994C-1380ADC807E7}"/>
                </a:ext>
              </a:extLst>
            </p:cNvPr>
            <p:cNvSpPr/>
            <p:nvPr/>
          </p:nvSpPr>
          <p:spPr bwMode="auto">
            <a:xfrm rot="1176661">
              <a:off x="2276500" y="4955066"/>
              <a:ext cx="1411204" cy="1233479"/>
            </a:xfrm>
            <a:custGeom>
              <a:avLst/>
              <a:gdLst/>
              <a:ahLst/>
              <a:cxnLst/>
              <a:rect l="l" t="t" r="r" b="b"/>
              <a:pathLst>
                <a:path w="1889394" h="1651744">
                  <a:moveTo>
                    <a:pt x="279665" y="0"/>
                  </a:moveTo>
                  <a:cubicBezTo>
                    <a:pt x="634044" y="154724"/>
                    <a:pt x="1040729" y="190238"/>
                    <a:pt x="1435837" y="76626"/>
                  </a:cubicBezTo>
                  <a:cubicBezTo>
                    <a:pt x="1435485" y="77872"/>
                    <a:pt x="1435361" y="79143"/>
                    <a:pt x="1435240" y="80413"/>
                  </a:cubicBezTo>
                  <a:cubicBezTo>
                    <a:pt x="1399091" y="459696"/>
                    <a:pt x="1586117" y="808797"/>
                    <a:pt x="1889394" y="996686"/>
                  </a:cubicBezTo>
                  <a:cubicBezTo>
                    <a:pt x="1758959" y="1378030"/>
                    <a:pt x="1397239" y="1651744"/>
                    <a:pt x="971590" y="1651744"/>
                  </a:cubicBezTo>
                  <a:cubicBezTo>
                    <a:pt x="434996" y="1651744"/>
                    <a:pt x="0" y="1216748"/>
                    <a:pt x="0" y="680154"/>
                  </a:cubicBezTo>
                  <a:cubicBezTo>
                    <a:pt x="0" y="414855"/>
                    <a:pt x="106332" y="174391"/>
                    <a:pt x="279665" y="0"/>
                  </a:cubicBezTo>
                  <a:close/>
                </a:path>
              </a:pathLst>
            </a:custGeom>
            <a:solidFill>
              <a:schemeClr val="accent5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 defTabSz="914377" eaLnBrk="1" hangingPunct="1">
                <a:defRPr/>
              </a:pPr>
              <a:endParaRPr lang="fr-FR" sz="1200" b="1">
                <a:latin typeface="Lucida Sans Unicode" pitchFamily="34" charset="0"/>
              </a:endParaRPr>
            </a:p>
          </p:txBody>
        </p:sp>
        <p:sp>
          <p:nvSpPr>
            <p:cNvPr id="41" name="Ellipse 7">
              <a:extLst>
                <a:ext uri="{FF2B5EF4-FFF2-40B4-BE49-F238E27FC236}">
                  <a16:creationId xmlns:a16="http://schemas.microsoft.com/office/drawing/2014/main" id="{1166923A-0550-4F62-BACC-2A14EE01FBBF}"/>
                </a:ext>
              </a:extLst>
            </p:cNvPr>
            <p:cNvSpPr/>
            <p:nvPr/>
          </p:nvSpPr>
          <p:spPr bwMode="auto">
            <a:xfrm rot="909458">
              <a:off x="1392315" y="3964473"/>
              <a:ext cx="1341357" cy="1452552"/>
            </a:xfrm>
            <a:custGeom>
              <a:avLst/>
              <a:gdLst/>
              <a:ahLst/>
              <a:cxnLst/>
              <a:rect l="l" t="t" r="r" b="b"/>
              <a:pathLst>
                <a:path w="1796590" h="1943180">
                  <a:moveTo>
                    <a:pt x="682669" y="43681"/>
                  </a:moveTo>
                  <a:cubicBezTo>
                    <a:pt x="773939" y="15293"/>
                    <a:pt x="870979" y="0"/>
                    <a:pt x="971590" y="0"/>
                  </a:cubicBezTo>
                  <a:lnTo>
                    <a:pt x="982053" y="950"/>
                  </a:lnTo>
                  <a:cubicBezTo>
                    <a:pt x="1137146" y="405830"/>
                    <a:pt x="1432341" y="724421"/>
                    <a:pt x="1796590" y="913797"/>
                  </a:cubicBezTo>
                  <a:cubicBezTo>
                    <a:pt x="1609613" y="1073552"/>
                    <a:pt x="1484803" y="1305144"/>
                    <a:pt x="1464191" y="1569791"/>
                  </a:cubicBezTo>
                  <a:cubicBezTo>
                    <a:pt x="1458025" y="1648968"/>
                    <a:pt x="1461531" y="1726667"/>
                    <a:pt x="1474818" y="1801546"/>
                  </a:cubicBezTo>
                  <a:cubicBezTo>
                    <a:pt x="1328502" y="1891776"/>
                    <a:pt x="1156049" y="1943180"/>
                    <a:pt x="971590" y="1943180"/>
                  </a:cubicBezTo>
                  <a:cubicBezTo>
                    <a:pt x="434996" y="1943180"/>
                    <a:pt x="0" y="1508184"/>
                    <a:pt x="0" y="971590"/>
                  </a:cubicBezTo>
                  <a:cubicBezTo>
                    <a:pt x="0" y="535607"/>
                    <a:pt x="287165" y="166695"/>
                    <a:pt x="682669" y="43681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 defTabSz="914377" eaLnBrk="1" hangingPunct="1">
                <a:defRPr/>
              </a:pPr>
              <a:endParaRPr lang="fr-FR" sz="1200" b="1">
                <a:latin typeface="Lucida Sans Unicode" pitchFamily="34" charset="0"/>
              </a:endParaRPr>
            </a:p>
          </p:txBody>
        </p:sp>
        <p:sp>
          <p:nvSpPr>
            <p:cNvPr id="42" name="Ellipse 8">
              <a:extLst>
                <a:ext uri="{FF2B5EF4-FFF2-40B4-BE49-F238E27FC236}">
                  <a16:creationId xmlns:a16="http://schemas.microsoft.com/office/drawing/2014/main" id="{06AEDA17-931D-4D0A-AAC2-10B5BBCF26B7}"/>
                </a:ext>
              </a:extLst>
            </p:cNvPr>
            <p:cNvSpPr/>
            <p:nvPr/>
          </p:nvSpPr>
          <p:spPr bwMode="auto">
            <a:xfrm rot="548672">
              <a:off x="1212938" y="2823067"/>
              <a:ext cx="1246114" cy="1411279"/>
            </a:xfrm>
            <a:custGeom>
              <a:avLst/>
              <a:gdLst/>
              <a:ahLst/>
              <a:cxnLst/>
              <a:rect l="l" t="t" r="r" b="b"/>
              <a:pathLst>
                <a:path w="1668163" h="1890659">
                  <a:moveTo>
                    <a:pt x="775781" y="19739"/>
                  </a:moveTo>
                  <a:cubicBezTo>
                    <a:pt x="839029" y="6797"/>
                    <a:pt x="904516" y="0"/>
                    <a:pt x="971590" y="0"/>
                  </a:cubicBezTo>
                  <a:cubicBezTo>
                    <a:pt x="1244994" y="0"/>
                    <a:pt x="1492023" y="112929"/>
                    <a:pt x="1668163" y="295086"/>
                  </a:cubicBezTo>
                  <a:cubicBezTo>
                    <a:pt x="1526732" y="598933"/>
                    <a:pt x="1471606" y="946877"/>
                    <a:pt x="1528881" y="1302684"/>
                  </a:cubicBezTo>
                  <a:cubicBezTo>
                    <a:pt x="1538399" y="1361813"/>
                    <a:pt x="1550796" y="1419761"/>
                    <a:pt x="1565918" y="1476406"/>
                  </a:cubicBezTo>
                  <a:cubicBezTo>
                    <a:pt x="1562561" y="1475471"/>
                    <a:pt x="1559135" y="1475092"/>
                    <a:pt x="1555703" y="1474731"/>
                  </a:cubicBezTo>
                  <a:cubicBezTo>
                    <a:pt x="1190050" y="1436214"/>
                    <a:pt x="850441" y="1605803"/>
                    <a:pt x="658517" y="1890659"/>
                  </a:cubicBezTo>
                  <a:cubicBezTo>
                    <a:pt x="275385" y="1761163"/>
                    <a:pt x="0" y="1398536"/>
                    <a:pt x="0" y="971590"/>
                  </a:cubicBezTo>
                  <a:cubicBezTo>
                    <a:pt x="0" y="502070"/>
                    <a:pt x="333044" y="110336"/>
                    <a:pt x="775781" y="19739"/>
                  </a:cubicBezTo>
                  <a:close/>
                </a:path>
              </a:pathLst>
            </a:custGeom>
            <a:solidFill>
              <a:schemeClr val="accent5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 defTabSz="914377" eaLnBrk="1" hangingPunct="1">
                <a:defRPr/>
              </a:pPr>
              <a:endParaRPr lang="fr-FR" sz="1200" b="1">
                <a:latin typeface="Lucida Sans Unicode" pitchFamily="34" charset="0"/>
              </a:endParaRPr>
            </a:p>
          </p:txBody>
        </p:sp>
        <p:sp>
          <p:nvSpPr>
            <p:cNvPr id="43" name="Ellipse 9">
              <a:extLst>
                <a:ext uri="{FF2B5EF4-FFF2-40B4-BE49-F238E27FC236}">
                  <a16:creationId xmlns:a16="http://schemas.microsoft.com/office/drawing/2014/main" id="{0CB05643-6F49-45D6-88FC-9363899104CA}"/>
                </a:ext>
              </a:extLst>
            </p:cNvPr>
            <p:cNvSpPr/>
            <p:nvPr/>
          </p:nvSpPr>
          <p:spPr bwMode="auto">
            <a:xfrm rot="302462">
              <a:off x="1803453" y="1829299"/>
              <a:ext cx="1450889" cy="1317616"/>
            </a:xfrm>
            <a:custGeom>
              <a:avLst/>
              <a:gdLst/>
              <a:ahLst/>
              <a:cxnLst/>
              <a:rect l="l" t="t" r="r" b="b"/>
              <a:pathLst>
                <a:path w="1943180" h="1764064">
                  <a:moveTo>
                    <a:pt x="872251" y="5016"/>
                  </a:moveTo>
                  <a:cubicBezTo>
                    <a:pt x="904913" y="1699"/>
                    <a:pt x="938053" y="0"/>
                    <a:pt x="971590" y="0"/>
                  </a:cubicBezTo>
                  <a:cubicBezTo>
                    <a:pt x="1508184" y="0"/>
                    <a:pt x="1943180" y="434996"/>
                    <a:pt x="1943180" y="971590"/>
                  </a:cubicBezTo>
                  <a:lnTo>
                    <a:pt x="1942564" y="985441"/>
                  </a:lnTo>
                  <a:cubicBezTo>
                    <a:pt x="1557767" y="1132507"/>
                    <a:pt x="1243321" y="1412222"/>
                    <a:pt x="1048315" y="1764064"/>
                  </a:cubicBezTo>
                  <a:cubicBezTo>
                    <a:pt x="886896" y="1568582"/>
                    <a:pt x="648418" y="1438073"/>
                    <a:pt x="375495" y="1418492"/>
                  </a:cubicBezTo>
                  <a:cubicBezTo>
                    <a:pt x="287012" y="1412144"/>
                    <a:pt x="200448" y="1417854"/>
                    <a:pt x="117626" y="1435300"/>
                  </a:cubicBezTo>
                  <a:cubicBezTo>
                    <a:pt x="42605" y="1297505"/>
                    <a:pt x="0" y="1139523"/>
                    <a:pt x="0" y="971590"/>
                  </a:cubicBezTo>
                  <a:cubicBezTo>
                    <a:pt x="0" y="468533"/>
                    <a:pt x="382321" y="54771"/>
                    <a:pt x="872251" y="5016"/>
                  </a:cubicBezTo>
                  <a:close/>
                </a:path>
              </a:pathLst>
            </a:custGeom>
            <a:solidFill>
              <a:schemeClr val="accent5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 defTabSz="914377" eaLnBrk="1" hangingPunct="1">
                <a:defRPr/>
              </a:pPr>
              <a:endParaRPr lang="fr-FR" sz="1200" b="1">
                <a:latin typeface="Lucida Sans Unicode" pitchFamily="34" charset="0"/>
              </a:endParaRPr>
            </a:p>
          </p:txBody>
        </p:sp>
        <p:sp>
          <p:nvSpPr>
            <p:cNvPr id="44" name="Rectangle 12">
              <a:extLst>
                <a:ext uri="{FF2B5EF4-FFF2-40B4-BE49-F238E27FC236}">
                  <a16:creationId xmlns:a16="http://schemas.microsoft.com/office/drawing/2014/main" id="{40A24FCB-3974-4463-808A-48F4593CDF9F}"/>
                </a:ext>
              </a:extLst>
            </p:cNvPr>
            <p:cNvSpPr/>
            <p:nvPr/>
          </p:nvSpPr>
          <p:spPr>
            <a:xfrm>
              <a:off x="3047979" y="1927723"/>
              <a:ext cx="1290561" cy="307973"/>
            </a:xfrm>
            <a:prstGeom prst="rect">
              <a:avLst/>
            </a:prstGeom>
          </p:spPr>
          <p:txBody>
            <a:bodyPr anchor="ctr">
              <a:spAutoFit/>
            </a:bodyPr>
            <a:lstStyle/>
            <a:p>
              <a:pPr algn="ctr" defTabSz="914377" eaLnBrk="1" hangingPunct="1">
                <a:defRPr/>
              </a:pPr>
              <a:r>
                <a:rPr lang="en-US" sz="1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Fira Sans SemiBold Italic" panose="00000700000000000000" pitchFamily="50" charset="0"/>
                  <a:ea typeface="Fira Sans SemiBold Italic" panose="00000700000000000000" pitchFamily="50" charset="0"/>
                  <a:cs typeface="Arial" pitchFamily="34" charset="0"/>
                </a:rPr>
                <a:t>Refine Plans</a:t>
              </a:r>
            </a:p>
          </p:txBody>
        </p:sp>
        <p:sp>
          <p:nvSpPr>
            <p:cNvPr id="45" name="Rectangle 13">
              <a:extLst>
                <a:ext uri="{FF2B5EF4-FFF2-40B4-BE49-F238E27FC236}">
                  <a16:creationId xmlns:a16="http://schemas.microsoft.com/office/drawing/2014/main" id="{FADE3F42-7DE4-4C9C-B5EE-5EF9B9FD102E}"/>
                </a:ext>
              </a:extLst>
            </p:cNvPr>
            <p:cNvSpPr/>
            <p:nvPr/>
          </p:nvSpPr>
          <p:spPr>
            <a:xfrm>
              <a:off x="4225834" y="2103935"/>
              <a:ext cx="1181030" cy="739770"/>
            </a:xfrm>
            <a:prstGeom prst="rect">
              <a:avLst/>
            </a:prstGeom>
          </p:spPr>
          <p:txBody>
            <a:bodyPr anchor="ctr">
              <a:spAutoFit/>
            </a:bodyPr>
            <a:lstStyle/>
            <a:p>
              <a:pPr algn="ctr" defTabSz="914377" eaLnBrk="1" hangingPunct="1">
                <a:defRPr/>
              </a:pPr>
              <a:r>
                <a:rPr lang="en-US" sz="1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Fira Sans SemiBold Italic" panose="00000700000000000000" pitchFamily="50" charset="0"/>
                  <a:ea typeface="Fira Sans SemiBold Italic" panose="00000700000000000000" pitchFamily="50" charset="0"/>
                  <a:cs typeface="Arial" pitchFamily="34" charset="0"/>
                </a:rPr>
                <a:t>Gather</a:t>
              </a:r>
            </a:p>
            <a:p>
              <a:pPr algn="ctr" defTabSz="914377" eaLnBrk="1" hangingPunct="1">
                <a:defRPr/>
              </a:pPr>
              <a:r>
                <a:rPr lang="en-US" sz="1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Fira Sans SemiBold Italic" panose="00000700000000000000" pitchFamily="50" charset="0"/>
                  <a:ea typeface="Fira Sans SemiBold Italic" panose="00000700000000000000" pitchFamily="50" charset="0"/>
                  <a:cs typeface="Arial" pitchFamily="34" charset="0"/>
                </a:rPr>
                <a:t>Market</a:t>
              </a:r>
            </a:p>
            <a:p>
              <a:pPr algn="ctr" defTabSz="914377" eaLnBrk="1" hangingPunct="1">
                <a:defRPr/>
              </a:pPr>
              <a:r>
                <a:rPr lang="en-US" sz="1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Fira Sans SemiBold Italic" panose="00000700000000000000" pitchFamily="50" charset="0"/>
                  <a:ea typeface="Fira Sans SemiBold Italic" panose="00000700000000000000" pitchFamily="50" charset="0"/>
                  <a:cs typeface="Arial" pitchFamily="34" charset="0"/>
                </a:rPr>
                <a:t>Information</a:t>
              </a:r>
            </a:p>
          </p:txBody>
        </p:sp>
        <p:sp>
          <p:nvSpPr>
            <p:cNvPr id="46" name="Rectangle 14">
              <a:extLst>
                <a:ext uri="{FF2B5EF4-FFF2-40B4-BE49-F238E27FC236}">
                  <a16:creationId xmlns:a16="http://schemas.microsoft.com/office/drawing/2014/main" id="{5F4622E3-8008-491C-B532-E7EDDC116B29}"/>
                </a:ext>
              </a:extLst>
            </p:cNvPr>
            <p:cNvSpPr/>
            <p:nvPr/>
          </p:nvSpPr>
          <p:spPr>
            <a:xfrm>
              <a:off x="4756027" y="3202478"/>
              <a:ext cx="1328659" cy="584196"/>
            </a:xfrm>
            <a:prstGeom prst="rect">
              <a:avLst/>
            </a:prstGeom>
          </p:spPr>
          <p:txBody>
            <a:bodyPr anchor="ctr">
              <a:spAutoFit/>
            </a:bodyPr>
            <a:lstStyle/>
            <a:p>
              <a:pPr algn="ctr" defTabSz="914377" eaLnBrk="1" hangingPunct="1">
                <a:defRPr/>
              </a:pPr>
              <a:r>
                <a:rPr lang="en-US" sz="16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Fira Sans SemiBold Italic" panose="00000700000000000000" pitchFamily="50" charset="0"/>
                  <a:ea typeface="Fira Sans SemiBold Italic" panose="00000700000000000000" pitchFamily="50" charset="0"/>
                  <a:cs typeface="Arial" pitchFamily="34" charset="0"/>
                </a:rPr>
                <a:t>Market</a:t>
              </a:r>
            </a:p>
            <a:p>
              <a:pPr algn="ctr" defTabSz="914377" eaLnBrk="1" hangingPunct="1">
                <a:defRPr/>
              </a:pPr>
              <a:r>
                <a:rPr lang="en-US" sz="1600" b="1" dirty="0" err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Fira Sans SemiBold Italic" panose="00000700000000000000" pitchFamily="50" charset="0"/>
                  <a:ea typeface="Fira Sans SemiBold Italic" panose="00000700000000000000" pitchFamily="50" charset="0"/>
                  <a:cs typeface="Arial" pitchFamily="34" charset="0"/>
                </a:rPr>
                <a:t>Inteligence</a:t>
              </a:r>
              <a:endPara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ira Sans SemiBold Italic" panose="00000700000000000000" pitchFamily="50" charset="0"/>
                <a:ea typeface="Fira Sans SemiBold Italic" panose="00000700000000000000" pitchFamily="50" charset="0"/>
                <a:cs typeface="Arial" pitchFamily="34" charset="0"/>
              </a:endParaRPr>
            </a:p>
          </p:txBody>
        </p:sp>
        <p:sp>
          <p:nvSpPr>
            <p:cNvPr id="47" name="Rectangle 15">
              <a:extLst>
                <a:ext uri="{FF2B5EF4-FFF2-40B4-BE49-F238E27FC236}">
                  <a16:creationId xmlns:a16="http://schemas.microsoft.com/office/drawing/2014/main" id="{870E59D5-7D57-4F07-B790-D67947E5005F}"/>
                </a:ext>
              </a:extLst>
            </p:cNvPr>
            <p:cNvSpPr/>
            <p:nvPr/>
          </p:nvSpPr>
          <p:spPr>
            <a:xfrm>
              <a:off x="4643322" y="4556606"/>
              <a:ext cx="1028639" cy="584196"/>
            </a:xfrm>
            <a:prstGeom prst="rect">
              <a:avLst/>
            </a:prstGeom>
          </p:spPr>
          <p:txBody>
            <a:bodyPr anchor="ctr">
              <a:spAutoFit/>
            </a:bodyPr>
            <a:lstStyle/>
            <a:p>
              <a:pPr algn="ctr" defTabSz="914377" eaLnBrk="1" hangingPunct="1">
                <a:defRPr/>
              </a:pPr>
              <a:r>
                <a:rPr lang="en-US" sz="16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Fira Sans SemiBold Italic" panose="00000700000000000000" pitchFamily="50" charset="0"/>
                  <a:ea typeface="Fira Sans SemiBold Italic" panose="00000700000000000000" pitchFamily="50" charset="0"/>
                  <a:cs typeface="Arial" pitchFamily="34" charset="0"/>
                </a:rPr>
                <a:t>Identify</a:t>
              </a:r>
            </a:p>
            <a:p>
              <a:pPr algn="ctr" defTabSz="914377" eaLnBrk="1" hangingPunct="1">
                <a:defRPr/>
              </a:pPr>
              <a:r>
                <a:rPr lang="en-US" sz="16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Fira Sans SemiBold Italic" panose="00000700000000000000" pitchFamily="50" charset="0"/>
                  <a:ea typeface="Fira Sans SemiBold Italic" panose="00000700000000000000" pitchFamily="50" charset="0"/>
                  <a:cs typeface="Arial" pitchFamily="34" charset="0"/>
                </a:rPr>
                <a:t>SCA</a:t>
              </a:r>
            </a:p>
          </p:txBody>
        </p:sp>
        <p:sp>
          <p:nvSpPr>
            <p:cNvPr id="48" name="Rectangle 16">
              <a:extLst>
                <a:ext uri="{FF2B5EF4-FFF2-40B4-BE49-F238E27FC236}">
                  <a16:creationId xmlns:a16="http://schemas.microsoft.com/office/drawing/2014/main" id="{F600AFB6-C472-4047-B43D-042D0364FE01}"/>
                </a:ext>
              </a:extLst>
            </p:cNvPr>
            <p:cNvSpPr/>
            <p:nvPr/>
          </p:nvSpPr>
          <p:spPr>
            <a:xfrm>
              <a:off x="3455942" y="5512274"/>
              <a:ext cx="1360406" cy="307973"/>
            </a:xfrm>
            <a:prstGeom prst="rect">
              <a:avLst/>
            </a:prstGeom>
          </p:spPr>
          <p:txBody>
            <a:bodyPr anchor="ctr">
              <a:spAutoFit/>
            </a:bodyPr>
            <a:lstStyle/>
            <a:p>
              <a:pPr algn="ctr" defTabSz="914377" eaLnBrk="1" hangingPunct="1">
                <a:defRPr/>
              </a:pPr>
              <a:r>
                <a:rPr lang="en-US" sz="1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Fira Sans SemiBold Italic" panose="00000700000000000000" pitchFamily="50" charset="0"/>
                  <a:ea typeface="Fira Sans SemiBold Italic" panose="00000700000000000000" pitchFamily="50" charset="0"/>
                  <a:cs typeface="Arial" pitchFamily="34" charset="0"/>
                </a:rPr>
                <a:t>Set Goals</a:t>
              </a:r>
            </a:p>
          </p:txBody>
        </p:sp>
        <p:sp>
          <p:nvSpPr>
            <p:cNvPr id="49" name="Rectangle 17">
              <a:extLst>
                <a:ext uri="{FF2B5EF4-FFF2-40B4-BE49-F238E27FC236}">
                  <a16:creationId xmlns:a16="http://schemas.microsoft.com/office/drawing/2014/main" id="{A02B5701-32D8-4664-8BAF-8A2FA3663FD9}"/>
                </a:ext>
              </a:extLst>
            </p:cNvPr>
            <p:cNvSpPr/>
            <p:nvPr/>
          </p:nvSpPr>
          <p:spPr>
            <a:xfrm>
              <a:off x="2513024" y="5378925"/>
              <a:ext cx="890534" cy="307973"/>
            </a:xfrm>
            <a:prstGeom prst="rect">
              <a:avLst/>
            </a:prstGeom>
          </p:spPr>
          <p:txBody>
            <a:bodyPr anchor="ctr">
              <a:spAutoFit/>
            </a:bodyPr>
            <a:lstStyle/>
            <a:p>
              <a:pPr algn="ctr" defTabSz="914377" eaLnBrk="1" hangingPunct="1">
                <a:defRPr/>
              </a:pPr>
              <a:r>
                <a:rPr lang="en-US" sz="1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Fira Sans SemiBold Italic" panose="00000700000000000000" pitchFamily="50" charset="0"/>
                  <a:ea typeface="Fira Sans SemiBold Italic" panose="00000700000000000000" pitchFamily="50" charset="0"/>
                  <a:cs typeface="Arial" pitchFamily="34" charset="0"/>
                </a:rPr>
                <a:t>Strategy</a:t>
              </a:r>
            </a:p>
          </p:txBody>
        </p:sp>
        <p:sp>
          <p:nvSpPr>
            <p:cNvPr id="50" name="Rectangle 18">
              <a:extLst>
                <a:ext uri="{FF2B5EF4-FFF2-40B4-BE49-F238E27FC236}">
                  <a16:creationId xmlns:a16="http://schemas.microsoft.com/office/drawing/2014/main" id="{54F1CFF2-FBDD-4744-AFA6-91C955C3AC7C}"/>
                </a:ext>
              </a:extLst>
            </p:cNvPr>
            <p:cNvSpPr/>
            <p:nvPr/>
          </p:nvSpPr>
          <p:spPr>
            <a:xfrm>
              <a:off x="1414539" y="4455006"/>
              <a:ext cx="1149282" cy="523872"/>
            </a:xfrm>
            <a:prstGeom prst="rect">
              <a:avLst/>
            </a:prstGeom>
          </p:spPr>
          <p:txBody>
            <a:bodyPr anchor="ctr">
              <a:spAutoFit/>
            </a:bodyPr>
            <a:lstStyle/>
            <a:p>
              <a:pPr algn="ctr" defTabSz="914377" eaLnBrk="1" hangingPunct="1">
                <a:defRPr/>
              </a:pPr>
              <a:r>
                <a:rPr lang="en-US" sz="1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Fira Sans SemiBold Italic" panose="00000700000000000000" pitchFamily="50" charset="0"/>
                  <a:ea typeface="Fira Sans SemiBold Italic" panose="00000700000000000000" pitchFamily="50" charset="0"/>
                  <a:cs typeface="Arial" pitchFamily="34" charset="0"/>
                </a:rPr>
                <a:t>Develop Plan</a:t>
              </a:r>
            </a:p>
          </p:txBody>
        </p:sp>
        <p:sp>
          <p:nvSpPr>
            <p:cNvPr id="51" name="Rectangle 19">
              <a:extLst>
                <a:ext uri="{FF2B5EF4-FFF2-40B4-BE49-F238E27FC236}">
                  <a16:creationId xmlns:a16="http://schemas.microsoft.com/office/drawing/2014/main" id="{D931AD68-4FEF-4801-AC8B-25CF57D54078}"/>
                </a:ext>
              </a:extLst>
            </p:cNvPr>
            <p:cNvSpPr/>
            <p:nvPr/>
          </p:nvSpPr>
          <p:spPr>
            <a:xfrm>
              <a:off x="1424063" y="3304077"/>
              <a:ext cx="823863" cy="522284"/>
            </a:xfrm>
            <a:prstGeom prst="rect">
              <a:avLst/>
            </a:prstGeom>
          </p:spPr>
          <p:txBody>
            <a:bodyPr anchor="ctr">
              <a:spAutoFit/>
            </a:bodyPr>
            <a:lstStyle/>
            <a:p>
              <a:pPr algn="ctr" defTabSz="914377" eaLnBrk="1" hangingPunct="1">
                <a:defRPr/>
              </a:pPr>
              <a:r>
                <a:rPr lang="en-US" sz="1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Fira Sans SemiBold Italic" panose="00000700000000000000" pitchFamily="50" charset="0"/>
                  <a:ea typeface="Fira Sans SemiBold Italic" panose="00000700000000000000" pitchFamily="50" charset="0"/>
                  <a:cs typeface="Arial" pitchFamily="34" charset="0"/>
                </a:rPr>
                <a:t>Track</a:t>
              </a:r>
            </a:p>
            <a:p>
              <a:pPr algn="ctr" defTabSz="914377" eaLnBrk="1" hangingPunct="1">
                <a:defRPr/>
              </a:pPr>
              <a:r>
                <a:rPr lang="en-US" sz="1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Fira Sans SemiBold Italic" panose="00000700000000000000" pitchFamily="50" charset="0"/>
                  <a:ea typeface="Fira Sans SemiBold Italic" panose="00000700000000000000" pitchFamily="50" charset="0"/>
                  <a:cs typeface="Arial" pitchFamily="34" charset="0"/>
                </a:rPr>
                <a:t>Result</a:t>
              </a:r>
            </a:p>
          </p:txBody>
        </p:sp>
        <p:sp>
          <p:nvSpPr>
            <p:cNvPr id="52" name="Rectangle 20">
              <a:extLst>
                <a:ext uri="{FF2B5EF4-FFF2-40B4-BE49-F238E27FC236}">
                  <a16:creationId xmlns:a16="http://schemas.microsoft.com/office/drawing/2014/main" id="{20CF30BC-A2A3-42FD-9EAB-36D98E2771EC}"/>
                </a:ext>
              </a:extLst>
            </p:cNvPr>
            <p:cNvSpPr/>
            <p:nvPr/>
          </p:nvSpPr>
          <p:spPr>
            <a:xfrm>
              <a:off x="1943145" y="2167434"/>
              <a:ext cx="1093723" cy="522284"/>
            </a:xfrm>
            <a:prstGeom prst="rect">
              <a:avLst/>
            </a:prstGeom>
          </p:spPr>
          <p:txBody>
            <a:bodyPr anchor="ctr">
              <a:spAutoFit/>
            </a:bodyPr>
            <a:lstStyle/>
            <a:p>
              <a:pPr algn="ctr" defTabSz="914377" eaLnBrk="1" hangingPunct="1">
                <a:defRPr/>
              </a:pPr>
              <a:r>
                <a:rPr lang="en-US" sz="1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Fira Sans SemiBold Italic" panose="00000700000000000000" pitchFamily="50" charset="0"/>
                  <a:ea typeface="Fira Sans SemiBold Italic" panose="00000700000000000000" pitchFamily="50" charset="0"/>
                  <a:cs typeface="Arial" pitchFamily="34" charset="0"/>
                </a:rPr>
                <a:t>Analyze</a:t>
              </a:r>
            </a:p>
            <a:p>
              <a:pPr algn="ctr" defTabSz="914377" eaLnBrk="1" hangingPunct="1">
                <a:defRPr/>
              </a:pPr>
              <a:r>
                <a:rPr lang="en-US" sz="1400" b="1" dirty="0" err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Fira Sans SemiBold Italic" panose="00000700000000000000" pitchFamily="50" charset="0"/>
                  <a:ea typeface="Fira Sans SemiBold Italic" panose="00000700000000000000" pitchFamily="50" charset="0"/>
                  <a:cs typeface="Arial" pitchFamily="34" charset="0"/>
                </a:rPr>
                <a:t>Differcnces</a:t>
              </a:r>
              <a:endParaRPr lang="en-U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ira Sans SemiBold Italic" panose="00000700000000000000" pitchFamily="50" charset="0"/>
                <a:ea typeface="Fira Sans SemiBold Italic" panose="00000700000000000000" pitchFamily="50" charset="0"/>
                <a:cs typeface="Arial" pitchFamily="34" charset="0"/>
              </a:endParaRPr>
            </a:p>
          </p:txBody>
        </p:sp>
        <p:grpSp>
          <p:nvGrpSpPr>
            <p:cNvPr id="53" name="Group 32">
              <a:extLst>
                <a:ext uri="{FF2B5EF4-FFF2-40B4-BE49-F238E27FC236}">
                  <a16:creationId xmlns:a16="http://schemas.microsoft.com/office/drawing/2014/main" id="{99C5FA37-4443-47F6-A96A-27C1F52C6A0F}"/>
                </a:ext>
              </a:extLst>
            </p:cNvPr>
            <p:cNvGrpSpPr/>
            <p:nvPr/>
          </p:nvGrpSpPr>
          <p:grpSpPr>
            <a:xfrm>
              <a:off x="3080764" y="3497236"/>
              <a:ext cx="925276" cy="787356"/>
              <a:chOff x="2057401" y="1725613"/>
              <a:chExt cx="1214438" cy="1073150"/>
            </a:xfrm>
            <a:solidFill>
              <a:schemeClr val="bg1"/>
            </a:solidFill>
          </p:grpSpPr>
          <p:sp>
            <p:nvSpPr>
              <p:cNvPr id="54" name="Oval 11">
                <a:extLst>
                  <a:ext uri="{FF2B5EF4-FFF2-40B4-BE49-F238E27FC236}">
                    <a16:creationId xmlns:a16="http://schemas.microsoft.com/office/drawing/2014/main" id="{E523405E-B7C1-4C10-BF5D-5412D82398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0313" y="2616200"/>
                <a:ext cx="182563" cy="1825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121920" tIns="60960" rIns="121920" bIns="60960"/>
              <a:lstStyle/>
              <a:p>
                <a:pPr defTabSz="91437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>
                  <a:latin typeface="+mn-lt"/>
                </a:endParaRPr>
              </a:p>
            </p:txBody>
          </p:sp>
          <p:sp>
            <p:nvSpPr>
              <p:cNvPr id="55" name="Oval 12">
                <a:extLst>
                  <a:ext uri="{FF2B5EF4-FFF2-40B4-BE49-F238E27FC236}">
                    <a16:creationId xmlns:a16="http://schemas.microsoft.com/office/drawing/2014/main" id="{FF95FD25-9AF4-4D41-B90B-25CF14E74D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7026" y="2616200"/>
                <a:ext cx="184150" cy="1825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121920" tIns="60960" rIns="121920" bIns="60960"/>
              <a:lstStyle/>
              <a:p>
                <a:pPr defTabSz="91437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>
                  <a:latin typeface="+mn-lt"/>
                </a:endParaRPr>
              </a:p>
            </p:txBody>
          </p:sp>
          <p:sp>
            <p:nvSpPr>
              <p:cNvPr id="56" name="Freeform 13">
                <a:extLst>
                  <a:ext uri="{FF2B5EF4-FFF2-40B4-BE49-F238E27FC236}">
                    <a16:creationId xmlns:a16="http://schemas.microsoft.com/office/drawing/2014/main" id="{077E2578-8A75-4F74-BE00-61012BD97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57401" y="1725613"/>
                <a:ext cx="1214438" cy="823913"/>
              </a:xfrm>
              <a:custGeom>
                <a:avLst/>
                <a:gdLst>
                  <a:gd name="T0" fmla="*/ 383 w 390"/>
                  <a:gd name="T1" fmla="*/ 64 h 265"/>
                  <a:gd name="T2" fmla="*/ 364 w 390"/>
                  <a:gd name="T3" fmla="*/ 57 h 265"/>
                  <a:gd name="T4" fmla="*/ 105 w 390"/>
                  <a:gd name="T5" fmla="*/ 57 h 265"/>
                  <a:gd name="T6" fmla="*/ 102 w 390"/>
                  <a:gd name="T7" fmla="*/ 44 h 265"/>
                  <a:gd name="T8" fmla="*/ 61 w 390"/>
                  <a:gd name="T9" fmla="*/ 0 h 265"/>
                  <a:gd name="T10" fmla="*/ 0 w 390"/>
                  <a:gd name="T11" fmla="*/ 0 h 265"/>
                  <a:gd name="T12" fmla="*/ 14 w 390"/>
                  <a:gd name="T13" fmla="*/ 28 h 265"/>
                  <a:gd name="T14" fmla="*/ 62 w 390"/>
                  <a:gd name="T15" fmla="*/ 28 h 265"/>
                  <a:gd name="T16" fmla="*/ 75 w 390"/>
                  <a:gd name="T17" fmla="*/ 44 h 265"/>
                  <a:gd name="T18" fmla="*/ 116 w 390"/>
                  <a:gd name="T19" fmla="*/ 242 h 265"/>
                  <a:gd name="T20" fmla="*/ 163 w 390"/>
                  <a:gd name="T21" fmla="*/ 265 h 265"/>
                  <a:gd name="T22" fmla="*/ 327 w 390"/>
                  <a:gd name="T23" fmla="*/ 265 h 265"/>
                  <a:gd name="T24" fmla="*/ 352 w 390"/>
                  <a:gd name="T25" fmla="*/ 239 h 265"/>
                  <a:gd name="T26" fmla="*/ 166 w 390"/>
                  <a:gd name="T27" fmla="*/ 239 h 265"/>
                  <a:gd name="T28" fmla="*/ 138 w 390"/>
                  <a:gd name="T29" fmla="*/ 213 h 265"/>
                  <a:gd name="T30" fmla="*/ 130 w 390"/>
                  <a:gd name="T31" fmla="*/ 172 h 265"/>
                  <a:gd name="T32" fmla="*/ 362 w 390"/>
                  <a:gd name="T33" fmla="*/ 172 h 265"/>
                  <a:gd name="T34" fmla="*/ 362 w 390"/>
                  <a:gd name="T35" fmla="*/ 172 h 265"/>
                  <a:gd name="T36" fmla="*/ 382 w 390"/>
                  <a:gd name="T37" fmla="*/ 153 h 265"/>
                  <a:gd name="T38" fmla="*/ 390 w 390"/>
                  <a:gd name="T39" fmla="*/ 81 h 265"/>
                  <a:gd name="T40" fmla="*/ 383 w 390"/>
                  <a:gd name="T41" fmla="*/ 64 h 265"/>
                  <a:gd name="T42" fmla="*/ 356 w 390"/>
                  <a:gd name="T43" fmla="*/ 143 h 265"/>
                  <a:gd name="T44" fmla="*/ 123 w 390"/>
                  <a:gd name="T45" fmla="*/ 143 h 265"/>
                  <a:gd name="T46" fmla="*/ 112 w 390"/>
                  <a:gd name="T47" fmla="*/ 90 h 265"/>
                  <a:gd name="T48" fmla="*/ 362 w 390"/>
                  <a:gd name="T49" fmla="*/ 90 h 265"/>
                  <a:gd name="T50" fmla="*/ 356 w 390"/>
                  <a:gd name="T51" fmla="*/ 143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0" h="265">
                    <a:moveTo>
                      <a:pt x="383" y="64"/>
                    </a:moveTo>
                    <a:cubicBezTo>
                      <a:pt x="377" y="57"/>
                      <a:pt x="364" y="57"/>
                      <a:pt x="364" y="57"/>
                    </a:cubicBezTo>
                    <a:cubicBezTo>
                      <a:pt x="105" y="57"/>
                      <a:pt x="105" y="57"/>
                      <a:pt x="105" y="57"/>
                    </a:cubicBezTo>
                    <a:cubicBezTo>
                      <a:pt x="102" y="44"/>
                      <a:pt x="102" y="44"/>
                      <a:pt x="102" y="44"/>
                    </a:cubicBezTo>
                    <a:cubicBezTo>
                      <a:pt x="102" y="44"/>
                      <a:pt x="96" y="0"/>
                      <a:pt x="61" y="0"/>
                    </a:cubicBezTo>
                    <a:cubicBezTo>
                      <a:pt x="26" y="0"/>
                      <a:pt x="0" y="0"/>
                      <a:pt x="0" y="0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62" y="28"/>
                      <a:pt x="62" y="28"/>
                      <a:pt x="62" y="28"/>
                    </a:cubicBezTo>
                    <a:cubicBezTo>
                      <a:pt x="62" y="28"/>
                      <a:pt x="73" y="25"/>
                      <a:pt x="75" y="44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6" y="242"/>
                      <a:pt x="123" y="265"/>
                      <a:pt x="163" y="265"/>
                    </a:cubicBezTo>
                    <a:cubicBezTo>
                      <a:pt x="163" y="265"/>
                      <a:pt x="304" y="265"/>
                      <a:pt x="327" y="265"/>
                    </a:cubicBezTo>
                    <a:cubicBezTo>
                      <a:pt x="350" y="265"/>
                      <a:pt x="352" y="239"/>
                      <a:pt x="352" y="239"/>
                    </a:cubicBezTo>
                    <a:cubicBezTo>
                      <a:pt x="166" y="239"/>
                      <a:pt x="166" y="239"/>
                      <a:pt x="166" y="239"/>
                    </a:cubicBezTo>
                    <a:cubicBezTo>
                      <a:pt x="166" y="239"/>
                      <a:pt x="142" y="241"/>
                      <a:pt x="138" y="213"/>
                    </a:cubicBezTo>
                    <a:cubicBezTo>
                      <a:pt x="130" y="172"/>
                      <a:pt x="130" y="172"/>
                      <a:pt x="130" y="172"/>
                    </a:cubicBezTo>
                    <a:cubicBezTo>
                      <a:pt x="362" y="172"/>
                      <a:pt x="362" y="172"/>
                      <a:pt x="362" y="172"/>
                    </a:cubicBezTo>
                    <a:cubicBezTo>
                      <a:pt x="362" y="172"/>
                      <a:pt x="362" y="172"/>
                      <a:pt x="362" y="172"/>
                    </a:cubicBezTo>
                    <a:cubicBezTo>
                      <a:pt x="372" y="171"/>
                      <a:pt x="381" y="163"/>
                      <a:pt x="382" y="153"/>
                    </a:cubicBezTo>
                    <a:cubicBezTo>
                      <a:pt x="390" y="81"/>
                      <a:pt x="390" y="81"/>
                      <a:pt x="390" y="81"/>
                    </a:cubicBezTo>
                    <a:cubicBezTo>
                      <a:pt x="390" y="74"/>
                      <a:pt x="390" y="70"/>
                      <a:pt x="383" y="64"/>
                    </a:cubicBezTo>
                    <a:close/>
                    <a:moveTo>
                      <a:pt x="356" y="143"/>
                    </a:moveTo>
                    <a:cubicBezTo>
                      <a:pt x="123" y="143"/>
                      <a:pt x="123" y="143"/>
                      <a:pt x="123" y="143"/>
                    </a:cubicBezTo>
                    <a:cubicBezTo>
                      <a:pt x="112" y="90"/>
                      <a:pt x="112" y="90"/>
                      <a:pt x="112" y="90"/>
                    </a:cubicBezTo>
                    <a:cubicBezTo>
                      <a:pt x="362" y="90"/>
                      <a:pt x="362" y="90"/>
                      <a:pt x="362" y="90"/>
                    </a:cubicBezTo>
                    <a:lnTo>
                      <a:pt x="356" y="1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121920" tIns="60960" rIns="121920" bIns="60960"/>
              <a:lstStyle/>
              <a:p>
                <a:pPr defTabSz="91437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>
                  <a:latin typeface="+mn-lt"/>
                </a:endParaRP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3523971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7">
            <a:extLst>
              <a:ext uri="{FF2B5EF4-FFF2-40B4-BE49-F238E27FC236}">
                <a16:creationId xmlns:a16="http://schemas.microsoft.com/office/drawing/2014/main" id="{B5D08992-6755-413F-973A-E613540DAE05}"/>
              </a:ext>
            </a:extLst>
          </p:cNvPr>
          <p:cNvGrpSpPr>
            <a:grpSpLocks/>
          </p:cNvGrpSpPr>
          <p:nvPr/>
        </p:nvGrpSpPr>
        <p:grpSpPr bwMode="auto">
          <a:xfrm>
            <a:off x="3586162" y="918369"/>
            <a:ext cx="5019675" cy="5021262"/>
            <a:chOff x="3626784" y="709519"/>
            <a:chExt cx="4841876" cy="4375150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92EBD1BB-9D2A-4C4C-A8EF-A952EFD44E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6784" y="709519"/>
              <a:ext cx="2851225" cy="2085908"/>
            </a:xfrm>
            <a:custGeom>
              <a:avLst/>
              <a:gdLst>
                <a:gd name="T0" fmla="*/ 316 w 1014"/>
                <a:gd name="T1" fmla="*/ 733 h 742"/>
                <a:gd name="T2" fmla="*/ 354 w 1014"/>
                <a:gd name="T3" fmla="*/ 701 h 742"/>
                <a:gd name="T4" fmla="*/ 354 w 1014"/>
                <a:gd name="T5" fmla="*/ 700 h 742"/>
                <a:gd name="T6" fmla="*/ 336 w 1014"/>
                <a:gd name="T7" fmla="*/ 666 h 742"/>
                <a:gd name="T8" fmla="*/ 325 w 1014"/>
                <a:gd name="T9" fmla="*/ 641 h 742"/>
                <a:gd name="T10" fmla="*/ 323 w 1014"/>
                <a:gd name="T11" fmla="*/ 629 h 742"/>
                <a:gd name="T12" fmla="*/ 409 w 1014"/>
                <a:gd name="T13" fmla="*/ 563 h 742"/>
                <a:gd name="T14" fmla="*/ 499 w 1014"/>
                <a:gd name="T15" fmla="*/ 593 h 742"/>
                <a:gd name="T16" fmla="*/ 505 w 1014"/>
                <a:gd name="T17" fmla="*/ 634 h 742"/>
                <a:gd name="T18" fmla="*/ 479 w 1014"/>
                <a:gd name="T19" fmla="*/ 684 h 742"/>
                <a:gd name="T20" fmla="*/ 472 w 1014"/>
                <a:gd name="T21" fmla="*/ 704 h 742"/>
                <a:gd name="T22" fmla="*/ 475 w 1014"/>
                <a:gd name="T23" fmla="*/ 718 h 742"/>
                <a:gd name="T24" fmla="*/ 503 w 1014"/>
                <a:gd name="T25" fmla="*/ 734 h 742"/>
                <a:gd name="T26" fmla="*/ 851 w 1014"/>
                <a:gd name="T27" fmla="*/ 728 h 742"/>
                <a:gd name="T28" fmla="*/ 851 w 1014"/>
                <a:gd name="T29" fmla="*/ 728 h 742"/>
                <a:gd name="T30" fmla="*/ 851 w 1014"/>
                <a:gd name="T31" fmla="*/ 728 h 742"/>
                <a:gd name="T32" fmla="*/ 843 w 1014"/>
                <a:gd name="T33" fmla="*/ 617 h 742"/>
                <a:gd name="T34" fmla="*/ 840 w 1014"/>
                <a:gd name="T35" fmla="*/ 492 h 742"/>
                <a:gd name="T36" fmla="*/ 848 w 1014"/>
                <a:gd name="T37" fmla="*/ 446 h 742"/>
                <a:gd name="T38" fmla="*/ 872 w 1014"/>
                <a:gd name="T39" fmla="*/ 432 h 742"/>
                <a:gd name="T40" fmla="*/ 873 w 1014"/>
                <a:gd name="T41" fmla="*/ 432 h 742"/>
                <a:gd name="T42" fmla="*/ 907 w 1014"/>
                <a:gd name="T43" fmla="*/ 449 h 742"/>
                <a:gd name="T44" fmla="*/ 959 w 1014"/>
                <a:gd name="T45" fmla="*/ 467 h 742"/>
                <a:gd name="T46" fmla="*/ 1000 w 1014"/>
                <a:gd name="T47" fmla="*/ 440 h 742"/>
                <a:gd name="T48" fmla="*/ 994 w 1014"/>
                <a:gd name="T49" fmla="*/ 307 h 742"/>
                <a:gd name="T50" fmla="*/ 946 w 1014"/>
                <a:gd name="T51" fmla="*/ 283 h 742"/>
                <a:gd name="T52" fmla="*/ 933 w 1014"/>
                <a:gd name="T53" fmla="*/ 286 h 742"/>
                <a:gd name="T54" fmla="*/ 894 w 1014"/>
                <a:gd name="T55" fmla="*/ 308 h 742"/>
                <a:gd name="T56" fmla="*/ 876 w 1014"/>
                <a:gd name="T57" fmla="*/ 314 h 742"/>
                <a:gd name="T58" fmla="*/ 859 w 1014"/>
                <a:gd name="T59" fmla="*/ 310 h 742"/>
                <a:gd name="T60" fmla="*/ 839 w 1014"/>
                <a:gd name="T61" fmla="*/ 277 h 742"/>
                <a:gd name="T62" fmla="*/ 852 w 1014"/>
                <a:gd name="T63" fmla="*/ 0 h 742"/>
                <a:gd name="T64" fmla="*/ 0 w 1014"/>
                <a:gd name="T65" fmla="*/ 73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14" h="742">
                  <a:moveTo>
                    <a:pt x="274" y="736"/>
                  </a:moveTo>
                  <a:cubicBezTo>
                    <a:pt x="290" y="736"/>
                    <a:pt x="304" y="735"/>
                    <a:pt x="316" y="733"/>
                  </a:cubicBezTo>
                  <a:cubicBezTo>
                    <a:pt x="323" y="731"/>
                    <a:pt x="342" y="728"/>
                    <a:pt x="350" y="718"/>
                  </a:cubicBezTo>
                  <a:cubicBezTo>
                    <a:pt x="354" y="713"/>
                    <a:pt x="354" y="707"/>
                    <a:pt x="354" y="701"/>
                  </a:cubicBezTo>
                  <a:cubicBezTo>
                    <a:pt x="354" y="701"/>
                    <a:pt x="354" y="701"/>
                    <a:pt x="354" y="701"/>
                  </a:cubicBezTo>
                  <a:cubicBezTo>
                    <a:pt x="354" y="701"/>
                    <a:pt x="354" y="701"/>
                    <a:pt x="354" y="700"/>
                  </a:cubicBezTo>
                  <a:cubicBezTo>
                    <a:pt x="354" y="693"/>
                    <a:pt x="351" y="687"/>
                    <a:pt x="348" y="682"/>
                  </a:cubicBezTo>
                  <a:cubicBezTo>
                    <a:pt x="344" y="675"/>
                    <a:pt x="340" y="671"/>
                    <a:pt x="336" y="666"/>
                  </a:cubicBezTo>
                  <a:cubicBezTo>
                    <a:pt x="332" y="660"/>
                    <a:pt x="328" y="654"/>
                    <a:pt x="326" y="644"/>
                  </a:cubicBezTo>
                  <a:cubicBezTo>
                    <a:pt x="325" y="643"/>
                    <a:pt x="325" y="642"/>
                    <a:pt x="325" y="641"/>
                  </a:cubicBezTo>
                  <a:cubicBezTo>
                    <a:pt x="324" y="638"/>
                    <a:pt x="323" y="634"/>
                    <a:pt x="323" y="630"/>
                  </a:cubicBezTo>
                  <a:cubicBezTo>
                    <a:pt x="323" y="630"/>
                    <a:pt x="323" y="629"/>
                    <a:pt x="323" y="629"/>
                  </a:cubicBezTo>
                  <a:cubicBezTo>
                    <a:pt x="323" y="611"/>
                    <a:pt x="332" y="595"/>
                    <a:pt x="347" y="583"/>
                  </a:cubicBezTo>
                  <a:cubicBezTo>
                    <a:pt x="362" y="571"/>
                    <a:pt x="383" y="563"/>
                    <a:pt x="409" y="563"/>
                  </a:cubicBezTo>
                  <a:cubicBezTo>
                    <a:pt x="438" y="563"/>
                    <a:pt x="464" y="567"/>
                    <a:pt x="480" y="576"/>
                  </a:cubicBezTo>
                  <a:cubicBezTo>
                    <a:pt x="489" y="581"/>
                    <a:pt x="495" y="586"/>
                    <a:pt x="499" y="593"/>
                  </a:cubicBezTo>
                  <a:cubicBezTo>
                    <a:pt x="504" y="599"/>
                    <a:pt x="506" y="607"/>
                    <a:pt x="507" y="618"/>
                  </a:cubicBezTo>
                  <a:cubicBezTo>
                    <a:pt x="507" y="623"/>
                    <a:pt x="506" y="628"/>
                    <a:pt x="505" y="634"/>
                  </a:cubicBezTo>
                  <a:cubicBezTo>
                    <a:pt x="502" y="651"/>
                    <a:pt x="495" y="661"/>
                    <a:pt x="489" y="670"/>
                  </a:cubicBezTo>
                  <a:cubicBezTo>
                    <a:pt x="486" y="674"/>
                    <a:pt x="482" y="679"/>
                    <a:pt x="479" y="684"/>
                  </a:cubicBezTo>
                  <a:cubicBezTo>
                    <a:pt x="476" y="689"/>
                    <a:pt x="472" y="696"/>
                    <a:pt x="472" y="704"/>
                  </a:cubicBezTo>
                  <a:cubicBezTo>
                    <a:pt x="472" y="704"/>
                    <a:pt x="472" y="704"/>
                    <a:pt x="472" y="704"/>
                  </a:cubicBezTo>
                  <a:cubicBezTo>
                    <a:pt x="472" y="705"/>
                    <a:pt x="472" y="705"/>
                    <a:pt x="472" y="705"/>
                  </a:cubicBezTo>
                  <a:cubicBezTo>
                    <a:pt x="472" y="709"/>
                    <a:pt x="473" y="714"/>
                    <a:pt x="475" y="718"/>
                  </a:cubicBezTo>
                  <a:cubicBezTo>
                    <a:pt x="478" y="724"/>
                    <a:pt x="482" y="727"/>
                    <a:pt x="486" y="729"/>
                  </a:cubicBezTo>
                  <a:cubicBezTo>
                    <a:pt x="492" y="732"/>
                    <a:pt x="497" y="733"/>
                    <a:pt x="503" y="734"/>
                  </a:cubicBezTo>
                  <a:cubicBezTo>
                    <a:pt x="511" y="736"/>
                    <a:pt x="555" y="742"/>
                    <a:pt x="851" y="728"/>
                  </a:cubicBezTo>
                  <a:cubicBezTo>
                    <a:pt x="851" y="728"/>
                    <a:pt x="851" y="728"/>
                    <a:pt x="851" y="728"/>
                  </a:cubicBezTo>
                  <a:cubicBezTo>
                    <a:pt x="851" y="728"/>
                    <a:pt x="850" y="728"/>
                    <a:pt x="849" y="728"/>
                  </a:cubicBezTo>
                  <a:cubicBezTo>
                    <a:pt x="850" y="728"/>
                    <a:pt x="851" y="728"/>
                    <a:pt x="851" y="728"/>
                  </a:cubicBezTo>
                  <a:cubicBezTo>
                    <a:pt x="851" y="727"/>
                    <a:pt x="851" y="727"/>
                    <a:pt x="851" y="727"/>
                  </a:cubicBezTo>
                  <a:cubicBezTo>
                    <a:pt x="851" y="727"/>
                    <a:pt x="851" y="727"/>
                    <a:pt x="851" y="728"/>
                  </a:cubicBezTo>
                  <a:cubicBezTo>
                    <a:pt x="852" y="728"/>
                    <a:pt x="852" y="728"/>
                    <a:pt x="852" y="728"/>
                  </a:cubicBezTo>
                  <a:cubicBezTo>
                    <a:pt x="850" y="703"/>
                    <a:pt x="845" y="648"/>
                    <a:pt x="843" y="617"/>
                  </a:cubicBezTo>
                  <a:cubicBezTo>
                    <a:pt x="841" y="587"/>
                    <a:pt x="840" y="556"/>
                    <a:pt x="840" y="528"/>
                  </a:cubicBezTo>
                  <a:cubicBezTo>
                    <a:pt x="840" y="515"/>
                    <a:pt x="840" y="503"/>
                    <a:pt x="840" y="492"/>
                  </a:cubicBezTo>
                  <a:cubicBezTo>
                    <a:pt x="841" y="480"/>
                    <a:pt x="841" y="471"/>
                    <a:pt x="843" y="463"/>
                  </a:cubicBezTo>
                  <a:cubicBezTo>
                    <a:pt x="844" y="457"/>
                    <a:pt x="845" y="452"/>
                    <a:pt x="848" y="446"/>
                  </a:cubicBezTo>
                  <a:cubicBezTo>
                    <a:pt x="850" y="442"/>
                    <a:pt x="853" y="438"/>
                    <a:pt x="859" y="435"/>
                  </a:cubicBezTo>
                  <a:cubicBezTo>
                    <a:pt x="863" y="433"/>
                    <a:pt x="867" y="432"/>
                    <a:pt x="872" y="432"/>
                  </a:cubicBezTo>
                  <a:cubicBezTo>
                    <a:pt x="872" y="432"/>
                    <a:pt x="872" y="432"/>
                    <a:pt x="872" y="432"/>
                  </a:cubicBezTo>
                  <a:cubicBezTo>
                    <a:pt x="873" y="432"/>
                    <a:pt x="873" y="432"/>
                    <a:pt x="873" y="432"/>
                  </a:cubicBezTo>
                  <a:cubicBezTo>
                    <a:pt x="881" y="432"/>
                    <a:pt x="888" y="436"/>
                    <a:pt x="893" y="439"/>
                  </a:cubicBezTo>
                  <a:cubicBezTo>
                    <a:pt x="898" y="442"/>
                    <a:pt x="902" y="446"/>
                    <a:pt x="907" y="449"/>
                  </a:cubicBezTo>
                  <a:cubicBezTo>
                    <a:pt x="916" y="455"/>
                    <a:pt x="926" y="462"/>
                    <a:pt x="943" y="465"/>
                  </a:cubicBezTo>
                  <a:cubicBezTo>
                    <a:pt x="949" y="466"/>
                    <a:pt x="954" y="467"/>
                    <a:pt x="959" y="467"/>
                  </a:cubicBezTo>
                  <a:cubicBezTo>
                    <a:pt x="969" y="466"/>
                    <a:pt x="977" y="464"/>
                    <a:pt x="984" y="459"/>
                  </a:cubicBezTo>
                  <a:cubicBezTo>
                    <a:pt x="991" y="455"/>
                    <a:pt x="996" y="449"/>
                    <a:pt x="1000" y="440"/>
                  </a:cubicBezTo>
                  <a:cubicBezTo>
                    <a:pt x="1009" y="424"/>
                    <a:pt x="1014" y="398"/>
                    <a:pt x="1014" y="369"/>
                  </a:cubicBezTo>
                  <a:cubicBezTo>
                    <a:pt x="1013" y="343"/>
                    <a:pt x="1006" y="322"/>
                    <a:pt x="994" y="307"/>
                  </a:cubicBezTo>
                  <a:cubicBezTo>
                    <a:pt x="982" y="292"/>
                    <a:pt x="966" y="283"/>
                    <a:pt x="948" y="283"/>
                  </a:cubicBezTo>
                  <a:cubicBezTo>
                    <a:pt x="947" y="283"/>
                    <a:pt x="947" y="283"/>
                    <a:pt x="946" y="283"/>
                  </a:cubicBezTo>
                  <a:cubicBezTo>
                    <a:pt x="943" y="283"/>
                    <a:pt x="939" y="284"/>
                    <a:pt x="935" y="285"/>
                  </a:cubicBezTo>
                  <a:cubicBezTo>
                    <a:pt x="935" y="285"/>
                    <a:pt x="934" y="285"/>
                    <a:pt x="933" y="286"/>
                  </a:cubicBezTo>
                  <a:cubicBezTo>
                    <a:pt x="923" y="288"/>
                    <a:pt x="917" y="292"/>
                    <a:pt x="911" y="296"/>
                  </a:cubicBezTo>
                  <a:cubicBezTo>
                    <a:pt x="906" y="300"/>
                    <a:pt x="901" y="304"/>
                    <a:pt x="894" y="308"/>
                  </a:cubicBezTo>
                  <a:cubicBezTo>
                    <a:pt x="890" y="311"/>
                    <a:pt x="884" y="314"/>
                    <a:pt x="876" y="314"/>
                  </a:cubicBezTo>
                  <a:cubicBezTo>
                    <a:pt x="876" y="314"/>
                    <a:pt x="876" y="314"/>
                    <a:pt x="876" y="314"/>
                  </a:cubicBezTo>
                  <a:cubicBezTo>
                    <a:pt x="876" y="314"/>
                    <a:pt x="875" y="314"/>
                    <a:pt x="875" y="314"/>
                  </a:cubicBezTo>
                  <a:cubicBezTo>
                    <a:pt x="870" y="314"/>
                    <a:pt x="864" y="313"/>
                    <a:pt x="859" y="310"/>
                  </a:cubicBezTo>
                  <a:cubicBezTo>
                    <a:pt x="852" y="307"/>
                    <a:pt x="847" y="301"/>
                    <a:pt x="844" y="295"/>
                  </a:cubicBezTo>
                  <a:cubicBezTo>
                    <a:pt x="842" y="289"/>
                    <a:pt x="840" y="284"/>
                    <a:pt x="839" y="277"/>
                  </a:cubicBezTo>
                  <a:cubicBezTo>
                    <a:pt x="836" y="265"/>
                    <a:pt x="834" y="251"/>
                    <a:pt x="835" y="235"/>
                  </a:cubicBezTo>
                  <a:cubicBezTo>
                    <a:pt x="838" y="139"/>
                    <a:pt x="848" y="41"/>
                    <a:pt x="852" y="0"/>
                  </a:cubicBezTo>
                  <a:cubicBezTo>
                    <a:pt x="381" y="4"/>
                    <a:pt x="0" y="326"/>
                    <a:pt x="0" y="722"/>
                  </a:cubicBezTo>
                  <a:cubicBezTo>
                    <a:pt x="0" y="725"/>
                    <a:pt x="0" y="727"/>
                    <a:pt x="0" y="730"/>
                  </a:cubicBezTo>
                  <a:cubicBezTo>
                    <a:pt x="72" y="732"/>
                    <a:pt x="239" y="737"/>
                    <a:pt x="274" y="736"/>
                  </a:cubicBezTo>
                  <a:close/>
                </a:path>
              </a:pathLst>
            </a:custGeom>
            <a:solidFill>
              <a:schemeClr val="accent4"/>
            </a:solidFill>
            <a:ln w="3810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C87D4BA6-9E79-4CCB-B321-6EDC05750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1158" y="709519"/>
              <a:ext cx="2497502" cy="2503643"/>
            </a:xfrm>
            <a:custGeom>
              <a:avLst/>
              <a:gdLst>
                <a:gd name="T0" fmla="*/ 10 w 888"/>
                <a:gd name="T1" fmla="*/ 295 h 890"/>
                <a:gd name="T2" fmla="*/ 41 w 888"/>
                <a:gd name="T3" fmla="*/ 314 h 890"/>
                <a:gd name="T4" fmla="*/ 42 w 888"/>
                <a:gd name="T5" fmla="*/ 314 h 890"/>
                <a:gd name="T6" fmla="*/ 77 w 888"/>
                <a:gd name="T7" fmla="*/ 296 h 890"/>
                <a:gd name="T8" fmla="*/ 101 w 888"/>
                <a:gd name="T9" fmla="*/ 285 h 890"/>
                <a:gd name="T10" fmla="*/ 114 w 888"/>
                <a:gd name="T11" fmla="*/ 283 h 890"/>
                <a:gd name="T12" fmla="*/ 180 w 888"/>
                <a:gd name="T13" fmla="*/ 369 h 890"/>
                <a:gd name="T14" fmla="*/ 150 w 888"/>
                <a:gd name="T15" fmla="*/ 459 h 890"/>
                <a:gd name="T16" fmla="*/ 109 w 888"/>
                <a:gd name="T17" fmla="*/ 465 h 890"/>
                <a:gd name="T18" fmla="*/ 59 w 888"/>
                <a:gd name="T19" fmla="*/ 439 h 890"/>
                <a:gd name="T20" fmla="*/ 38 w 888"/>
                <a:gd name="T21" fmla="*/ 432 h 890"/>
                <a:gd name="T22" fmla="*/ 25 w 888"/>
                <a:gd name="T23" fmla="*/ 435 h 890"/>
                <a:gd name="T24" fmla="*/ 9 w 888"/>
                <a:gd name="T25" fmla="*/ 463 h 890"/>
                <a:gd name="T26" fmla="*/ 6 w 888"/>
                <a:gd name="T27" fmla="*/ 528 h 890"/>
                <a:gd name="T28" fmla="*/ 18 w 888"/>
                <a:gd name="T29" fmla="*/ 728 h 890"/>
                <a:gd name="T30" fmla="*/ 265 w 888"/>
                <a:gd name="T31" fmla="*/ 715 h 890"/>
                <a:gd name="T32" fmla="*/ 331 w 888"/>
                <a:gd name="T33" fmla="*/ 718 h 890"/>
                <a:gd name="T34" fmla="*/ 358 w 888"/>
                <a:gd name="T35" fmla="*/ 734 h 890"/>
                <a:gd name="T36" fmla="*/ 361 w 888"/>
                <a:gd name="T37" fmla="*/ 748 h 890"/>
                <a:gd name="T38" fmla="*/ 354 w 888"/>
                <a:gd name="T39" fmla="*/ 768 h 890"/>
                <a:gd name="T40" fmla="*/ 328 w 888"/>
                <a:gd name="T41" fmla="*/ 818 h 890"/>
                <a:gd name="T42" fmla="*/ 334 w 888"/>
                <a:gd name="T43" fmla="*/ 859 h 890"/>
                <a:gd name="T44" fmla="*/ 424 w 888"/>
                <a:gd name="T45" fmla="*/ 889 h 890"/>
                <a:gd name="T46" fmla="*/ 510 w 888"/>
                <a:gd name="T47" fmla="*/ 823 h 890"/>
                <a:gd name="T48" fmla="*/ 508 w 888"/>
                <a:gd name="T49" fmla="*/ 811 h 890"/>
                <a:gd name="T50" fmla="*/ 497 w 888"/>
                <a:gd name="T51" fmla="*/ 787 h 890"/>
                <a:gd name="T52" fmla="*/ 479 w 888"/>
                <a:gd name="T53" fmla="*/ 752 h 890"/>
                <a:gd name="T54" fmla="*/ 479 w 888"/>
                <a:gd name="T55" fmla="*/ 751 h 890"/>
                <a:gd name="T56" fmla="*/ 513 w 888"/>
                <a:gd name="T57" fmla="*/ 717 h 890"/>
                <a:gd name="T58" fmla="*/ 888 w 888"/>
                <a:gd name="T59" fmla="*/ 722 h 890"/>
                <a:gd name="T60" fmla="*/ 18 w 888"/>
                <a:gd name="T61" fmla="*/ 0 h 890"/>
                <a:gd name="T62" fmla="*/ 5 w 888"/>
                <a:gd name="T63" fmla="*/ 277 h 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88" h="890">
                  <a:moveTo>
                    <a:pt x="5" y="277"/>
                  </a:moveTo>
                  <a:cubicBezTo>
                    <a:pt x="6" y="284"/>
                    <a:pt x="8" y="289"/>
                    <a:pt x="10" y="295"/>
                  </a:cubicBezTo>
                  <a:cubicBezTo>
                    <a:pt x="13" y="301"/>
                    <a:pt x="18" y="307"/>
                    <a:pt x="25" y="310"/>
                  </a:cubicBezTo>
                  <a:cubicBezTo>
                    <a:pt x="30" y="313"/>
                    <a:pt x="36" y="314"/>
                    <a:pt x="41" y="314"/>
                  </a:cubicBezTo>
                  <a:cubicBezTo>
                    <a:pt x="41" y="314"/>
                    <a:pt x="42" y="314"/>
                    <a:pt x="42" y="314"/>
                  </a:cubicBezTo>
                  <a:cubicBezTo>
                    <a:pt x="42" y="314"/>
                    <a:pt x="42" y="314"/>
                    <a:pt x="42" y="314"/>
                  </a:cubicBezTo>
                  <a:cubicBezTo>
                    <a:pt x="50" y="314"/>
                    <a:pt x="56" y="311"/>
                    <a:pt x="60" y="308"/>
                  </a:cubicBezTo>
                  <a:cubicBezTo>
                    <a:pt x="67" y="304"/>
                    <a:pt x="72" y="300"/>
                    <a:pt x="77" y="296"/>
                  </a:cubicBezTo>
                  <a:cubicBezTo>
                    <a:pt x="83" y="292"/>
                    <a:pt x="89" y="288"/>
                    <a:pt x="99" y="286"/>
                  </a:cubicBezTo>
                  <a:cubicBezTo>
                    <a:pt x="100" y="285"/>
                    <a:pt x="101" y="285"/>
                    <a:pt x="101" y="285"/>
                  </a:cubicBezTo>
                  <a:cubicBezTo>
                    <a:pt x="105" y="284"/>
                    <a:pt x="109" y="283"/>
                    <a:pt x="112" y="283"/>
                  </a:cubicBezTo>
                  <a:cubicBezTo>
                    <a:pt x="113" y="283"/>
                    <a:pt x="113" y="283"/>
                    <a:pt x="114" y="283"/>
                  </a:cubicBezTo>
                  <a:cubicBezTo>
                    <a:pt x="132" y="283"/>
                    <a:pt x="148" y="292"/>
                    <a:pt x="160" y="307"/>
                  </a:cubicBezTo>
                  <a:cubicBezTo>
                    <a:pt x="172" y="322"/>
                    <a:pt x="179" y="343"/>
                    <a:pt x="180" y="369"/>
                  </a:cubicBezTo>
                  <a:cubicBezTo>
                    <a:pt x="180" y="398"/>
                    <a:pt x="175" y="424"/>
                    <a:pt x="166" y="440"/>
                  </a:cubicBezTo>
                  <a:cubicBezTo>
                    <a:pt x="162" y="449"/>
                    <a:pt x="157" y="455"/>
                    <a:pt x="150" y="459"/>
                  </a:cubicBezTo>
                  <a:cubicBezTo>
                    <a:pt x="143" y="464"/>
                    <a:pt x="135" y="466"/>
                    <a:pt x="125" y="467"/>
                  </a:cubicBezTo>
                  <a:cubicBezTo>
                    <a:pt x="120" y="467"/>
                    <a:pt x="115" y="466"/>
                    <a:pt x="109" y="465"/>
                  </a:cubicBezTo>
                  <a:cubicBezTo>
                    <a:pt x="92" y="462"/>
                    <a:pt x="82" y="455"/>
                    <a:pt x="73" y="449"/>
                  </a:cubicBezTo>
                  <a:cubicBezTo>
                    <a:pt x="68" y="446"/>
                    <a:pt x="64" y="442"/>
                    <a:pt x="59" y="439"/>
                  </a:cubicBezTo>
                  <a:cubicBezTo>
                    <a:pt x="54" y="436"/>
                    <a:pt x="47" y="432"/>
                    <a:pt x="39" y="432"/>
                  </a:cubicBezTo>
                  <a:cubicBezTo>
                    <a:pt x="39" y="432"/>
                    <a:pt x="39" y="432"/>
                    <a:pt x="38" y="432"/>
                  </a:cubicBezTo>
                  <a:cubicBezTo>
                    <a:pt x="38" y="432"/>
                    <a:pt x="38" y="432"/>
                    <a:pt x="38" y="432"/>
                  </a:cubicBezTo>
                  <a:cubicBezTo>
                    <a:pt x="33" y="432"/>
                    <a:pt x="29" y="433"/>
                    <a:pt x="25" y="435"/>
                  </a:cubicBezTo>
                  <a:cubicBezTo>
                    <a:pt x="19" y="438"/>
                    <a:pt x="16" y="442"/>
                    <a:pt x="14" y="446"/>
                  </a:cubicBezTo>
                  <a:cubicBezTo>
                    <a:pt x="11" y="452"/>
                    <a:pt x="10" y="457"/>
                    <a:pt x="9" y="463"/>
                  </a:cubicBezTo>
                  <a:cubicBezTo>
                    <a:pt x="7" y="471"/>
                    <a:pt x="7" y="480"/>
                    <a:pt x="6" y="492"/>
                  </a:cubicBezTo>
                  <a:cubicBezTo>
                    <a:pt x="6" y="503"/>
                    <a:pt x="6" y="515"/>
                    <a:pt x="6" y="528"/>
                  </a:cubicBezTo>
                  <a:cubicBezTo>
                    <a:pt x="6" y="556"/>
                    <a:pt x="7" y="587"/>
                    <a:pt x="9" y="617"/>
                  </a:cubicBezTo>
                  <a:cubicBezTo>
                    <a:pt x="11" y="648"/>
                    <a:pt x="16" y="703"/>
                    <a:pt x="18" y="728"/>
                  </a:cubicBezTo>
                  <a:cubicBezTo>
                    <a:pt x="47" y="725"/>
                    <a:pt x="147" y="720"/>
                    <a:pt x="176" y="719"/>
                  </a:cubicBezTo>
                  <a:cubicBezTo>
                    <a:pt x="206" y="717"/>
                    <a:pt x="237" y="715"/>
                    <a:pt x="265" y="715"/>
                  </a:cubicBezTo>
                  <a:cubicBezTo>
                    <a:pt x="278" y="715"/>
                    <a:pt x="291" y="715"/>
                    <a:pt x="302" y="715"/>
                  </a:cubicBezTo>
                  <a:cubicBezTo>
                    <a:pt x="313" y="716"/>
                    <a:pt x="322" y="717"/>
                    <a:pt x="331" y="718"/>
                  </a:cubicBezTo>
                  <a:cubicBezTo>
                    <a:pt x="336" y="719"/>
                    <a:pt x="341" y="720"/>
                    <a:pt x="348" y="724"/>
                  </a:cubicBezTo>
                  <a:cubicBezTo>
                    <a:pt x="351" y="725"/>
                    <a:pt x="355" y="729"/>
                    <a:pt x="358" y="734"/>
                  </a:cubicBezTo>
                  <a:cubicBezTo>
                    <a:pt x="360" y="738"/>
                    <a:pt x="361" y="743"/>
                    <a:pt x="361" y="747"/>
                  </a:cubicBezTo>
                  <a:cubicBezTo>
                    <a:pt x="361" y="747"/>
                    <a:pt x="361" y="748"/>
                    <a:pt x="361" y="748"/>
                  </a:cubicBezTo>
                  <a:cubicBezTo>
                    <a:pt x="361" y="748"/>
                    <a:pt x="361" y="748"/>
                    <a:pt x="361" y="748"/>
                  </a:cubicBezTo>
                  <a:cubicBezTo>
                    <a:pt x="361" y="756"/>
                    <a:pt x="358" y="763"/>
                    <a:pt x="354" y="768"/>
                  </a:cubicBezTo>
                  <a:cubicBezTo>
                    <a:pt x="351" y="774"/>
                    <a:pt x="348" y="778"/>
                    <a:pt x="344" y="782"/>
                  </a:cubicBezTo>
                  <a:cubicBezTo>
                    <a:pt x="338" y="791"/>
                    <a:pt x="331" y="801"/>
                    <a:pt x="328" y="818"/>
                  </a:cubicBezTo>
                  <a:cubicBezTo>
                    <a:pt x="327" y="824"/>
                    <a:pt x="326" y="829"/>
                    <a:pt x="326" y="834"/>
                  </a:cubicBezTo>
                  <a:cubicBezTo>
                    <a:pt x="327" y="845"/>
                    <a:pt x="329" y="853"/>
                    <a:pt x="334" y="859"/>
                  </a:cubicBezTo>
                  <a:cubicBezTo>
                    <a:pt x="338" y="866"/>
                    <a:pt x="344" y="871"/>
                    <a:pt x="353" y="876"/>
                  </a:cubicBezTo>
                  <a:cubicBezTo>
                    <a:pt x="369" y="885"/>
                    <a:pt x="395" y="890"/>
                    <a:pt x="424" y="889"/>
                  </a:cubicBezTo>
                  <a:cubicBezTo>
                    <a:pt x="450" y="889"/>
                    <a:pt x="471" y="881"/>
                    <a:pt x="486" y="869"/>
                  </a:cubicBezTo>
                  <a:cubicBezTo>
                    <a:pt x="501" y="857"/>
                    <a:pt x="510" y="841"/>
                    <a:pt x="510" y="823"/>
                  </a:cubicBezTo>
                  <a:cubicBezTo>
                    <a:pt x="510" y="823"/>
                    <a:pt x="510" y="822"/>
                    <a:pt x="510" y="822"/>
                  </a:cubicBezTo>
                  <a:cubicBezTo>
                    <a:pt x="510" y="818"/>
                    <a:pt x="509" y="815"/>
                    <a:pt x="508" y="811"/>
                  </a:cubicBezTo>
                  <a:cubicBezTo>
                    <a:pt x="508" y="810"/>
                    <a:pt x="508" y="809"/>
                    <a:pt x="508" y="809"/>
                  </a:cubicBezTo>
                  <a:cubicBezTo>
                    <a:pt x="505" y="798"/>
                    <a:pt x="501" y="792"/>
                    <a:pt x="497" y="787"/>
                  </a:cubicBezTo>
                  <a:cubicBezTo>
                    <a:pt x="494" y="781"/>
                    <a:pt x="489" y="777"/>
                    <a:pt x="485" y="770"/>
                  </a:cubicBezTo>
                  <a:cubicBezTo>
                    <a:pt x="482" y="765"/>
                    <a:pt x="479" y="759"/>
                    <a:pt x="479" y="752"/>
                  </a:cubicBezTo>
                  <a:cubicBezTo>
                    <a:pt x="479" y="752"/>
                    <a:pt x="479" y="751"/>
                    <a:pt x="479" y="751"/>
                  </a:cubicBezTo>
                  <a:cubicBezTo>
                    <a:pt x="479" y="751"/>
                    <a:pt x="479" y="751"/>
                    <a:pt x="479" y="751"/>
                  </a:cubicBezTo>
                  <a:cubicBezTo>
                    <a:pt x="479" y="745"/>
                    <a:pt x="481" y="740"/>
                    <a:pt x="483" y="735"/>
                  </a:cubicBezTo>
                  <a:cubicBezTo>
                    <a:pt x="486" y="727"/>
                    <a:pt x="504" y="718"/>
                    <a:pt x="513" y="717"/>
                  </a:cubicBezTo>
                  <a:cubicBezTo>
                    <a:pt x="570" y="708"/>
                    <a:pt x="811" y="719"/>
                    <a:pt x="888" y="724"/>
                  </a:cubicBezTo>
                  <a:cubicBezTo>
                    <a:pt x="888" y="724"/>
                    <a:pt x="888" y="723"/>
                    <a:pt x="888" y="722"/>
                  </a:cubicBezTo>
                  <a:cubicBezTo>
                    <a:pt x="888" y="323"/>
                    <a:pt x="502" y="0"/>
                    <a:pt x="27" y="0"/>
                  </a:cubicBezTo>
                  <a:cubicBezTo>
                    <a:pt x="24" y="0"/>
                    <a:pt x="21" y="0"/>
                    <a:pt x="18" y="0"/>
                  </a:cubicBezTo>
                  <a:cubicBezTo>
                    <a:pt x="14" y="41"/>
                    <a:pt x="4" y="139"/>
                    <a:pt x="1" y="235"/>
                  </a:cubicBezTo>
                  <a:cubicBezTo>
                    <a:pt x="0" y="251"/>
                    <a:pt x="2" y="265"/>
                    <a:pt x="5" y="277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5853154C-711A-4849-8511-AC7A7A613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6784" y="2292257"/>
              <a:ext cx="2446338" cy="2481263"/>
            </a:xfrm>
            <a:custGeom>
              <a:avLst/>
              <a:gdLst>
                <a:gd name="T0" fmla="*/ 2418219 w 870"/>
                <a:gd name="T1" fmla="*/ 1685121 h 882"/>
                <a:gd name="T2" fmla="*/ 2376041 w 870"/>
                <a:gd name="T3" fmla="*/ 1640109 h 882"/>
                <a:gd name="T4" fmla="*/ 2331051 w 870"/>
                <a:gd name="T5" fmla="*/ 1631670 h 882"/>
                <a:gd name="T6" fmla="*/ 2328239 w 870"/>
                <a:gd name="T7" fmla="*/ 1631670 h 882"/>
                <a:gd name="T8" fmla="*/ 2328239 w 870"/>
                <a:gd name="T9" fmla="*/ 1631670 h 882"/>
                <a:gd name="T10" fmla="*/ 2277625 w 870"/>
                <a:gd name="T11" fmla="*/ 1648549 h 882"/>
                <a:gd name="T12" fmla="*/ 2229823 w 870"/>
                <a:gd name="T13" fmla="*/ 1682308 h 882"/>
                <a:gd name="T14" fmla="*/ 2167962 w 870"/>
                <a:gd name="T15" fmla="*/ 1710440 h 882"/>
                <a:gd name="T16" fmla="*/ 2162338 w 870"/>
                <a:gd name="T17" fmla="*/ 1713253 h 882"/>
                <a:gd name="T18" fmla="*/ 2131407 w 870"/>
                <a:gd name="T19" fmla="*/ 1716066 h 882"/>
                <a:gd name="T20" fmla="*/ 2125783 w 870"/>
                <a:gd name="T21" fmla="*/ 1718879 h 882"/>
                <a:gd name="T22" fmla="*/ 1999249 w 870"/>
                <a:gd name="T23" fmla="*/ 1651362 h 882"/>
                <a:gd name="T24" fmla="*/ 1940199 w 870"/>
                <a:gd name="T25" fmla="*/ 1476942 h 882"/>
                <a:gd name="T26" fmla="*/ 1979565 w 870"/>
                <a:gd name="T27" fmla="*/ 1274390 h 882"/>
                <a:gd name="T28" fmla="*/ 2024556 w 870"/>
                <a:gd name="T29" fmla="*/ 1220939 h 882"/>
                <a:gd name="T30" fmla="*/ 2094853 w 870"/>
                <a:gd name="T31" fmla="*/ 1201246 h 882"/>
                <a:gd name="T32" fmla="*/ 2139843 w 870"/>
                <a:gd name="T33" fmla="*/ 1206873 h 882"/>
                <a:gd name="T34" fmla="*/ 2241071 w 870"/>
                <a:gd name="T35" fmla="*/ 1251884 h 882"/>
                <a:gd name="T36" fmla="*/ 2280437 w 870"/>
                <a:gd name="T37" fmla="*/ 1280017 h 882"/>
                <a:gd name="T38" fmla="*/ 2336675 w 870"/>
                <a:gd name="T39" fmla="*/ 1299709 h 882"/>
                <a:gd name="T40" fmla="*/ 2339486 w 870"/>
                <a:gd name="T41" fmla="*/ 1296896 h 882"/>
                <a:gd name="T42" fmla="*/ 2339486 w 870"/>
                <a:gd name="T43" fmla="*/ 1299709 h 882"/>
                <a:gd name="T44" fmla="*/ 2376041 w 870"/>
                <a:gd name="T45" fmla="*/ 1291270 h 882"/>
                <a:gd name="T46" fmla="*/ 2406972 w 870"/>
                <a:gd name="T47" fmla="*/ 1260324 h 882"/>
                <a:gd name="T48" fmla="*/ 2421031 w 870"/>
                <a:gd name="T49" fmla="*/ 1212499 h 882"/>
                <a:gd name="T50" fmla="*/ 2429467 w 870"/>
                <a:gd name="T51" fmla="*/ 1130916 h 882"/>
                <a:gd name="T52" fmla="*/ 2429467 w 870"/>
                <a:gd name="T53" fmla="*/ 1026827 h 882"/>
                <a:gd name="T54" fmla="*/ 2421031 w 870"/>
                <a:gd name="T55" fmla="*/ 779263 h 882"/>
                <a:gd name="T56" fmla="*/ 2392912 w 870"/>
                <a:gd name="T57" fmla="*/ 464182 h 882"/>
                <a:gd name="T58" fmla="*/ 1414377 w 870"/>
                <a:gd name="T59" fmla="*/ 481061 h 882"/>
                <a:gd name="T60" fmla="*/ 1366575 w 870"/>
                <a:gd name="T61" fmla="*/ 466995 h 882"/>
                <a:gd name="T62" fmla="*/ 1335644 w 870"/>
                <a:gd name="T63" fmla="*/ 436050 h 882"/>
                <a:gd name="T64" fmla="*/ 1327209 w 870"/>
                <a:gd name="T65" fmla="*/ 399478 h 882"/>
                <a:gd name="T66" fmla="*/ 1327209 w 870"/>
                <a:gd name="T67" fmla="*/ 396664 h 882"/>
                <a:gd name="T68" fmla="*/ 1327209 w 870"/>
                <a:gd name="T69" fmla="*/ 396664 h 882"/>
                <a:gd name="T70" fmla="*/ 1346892 w 870"/>
                <a:gd name="T71" fmla="*/ 340400 h 882"/>
                <a:gd name="T72" fmla="*/ 1375011 w 870"/>
                <a:gd name="T73" fmla="*/ 301015 h 882"/>
                <a:gd name="T74" fmla="*/ 1420001 w 870"/>
                <a:gd name="T75" fmla="*/ 199739 h 882"/>
                <a:gd name="T76" fmla="*/ 1425625 w 870"/>
                <a:gd name="T77" fmla="*/ 154727 h 882"/>
                <a:gd name="T78" fmla="*/ 1403129 w 870"/>
                <a:gd name="T79" fmla="*/ 84397 h 882"/>
                <a:gd name="T80" fmla="*/ 1349704 w 870"/>
                <a:gd name="T81" fmla="*/ 36572 h 882"/>
                <a:gd name="T82" fmla="*/ 1150060 w 870"/>
                <a:gd name="T83" fmla="*/ 0 h 882"/>
                <a:gd name="T84" fmla="*/ 975723 w 870"/>
                <a:gd name="T85" fmla="*/ 56264 h 882"/>
                <a:gd name="T86" fmla="*/ 908238 w 870"/>
                <a:gd name="T87" fmla="*/ 185673 h 882"/>
                <a:gd name="T88" fmla="*/ 908238 w 870"/>
                <a:gd name="T89" fmla="*/ 188486 h 882"/>
                <a:gd name="T90" fmla="*/ 913862 w 870"/>
                <a:gd name="T91" fmla="*/ 219431 h 882"/>
                <a:gd name="T92" fmla="*/ 916674 w 870"/>
                <a:gd name="T93" fmla="*/ 227871 h 882"/>
                <a:gd name="T94" fmla="*/ 944793 w 870"/>
                <a:gd name="T95" fmla="*/ 289762 h 882"/>
                <a:gd name="T96" fmla="*/ 978535 w 870"/>
                <a:gd name="T97" fmla="*/ 334774 h 882"/>
                <a:gd name="T98" fmla="*/ 995406 w 870"/>
                <a:gd name="T99" fmla="*/ 385412 h 882"/>
                <a:gd name="T100" fmla="*/ 995406 w 870"/>
                <a:gd name="T101" fmla="*/ 388225 h 882"/>
                <a:gd name="T102" fmla="*/ 995406 w 870"/>
                <a:gd name="T103" fmla="*/ 388225 h 882"/>
                <a:gd name="T104" fmla="*/ 984159 w 870"/>
                <a:gd name="T105" fmla="*/ 436050 h 882"/>
                <a:gd name="T106" fmla="*/ 888555 w 870"/>
                <a:gd name="T107" fmla="*/ 478248 h 882"/>
                <a:gd name="T108" fmla="*/ 770456 w 870"/>
                <a:gd name="T109" fmla="*/ 486688 h 882"/>
                <a:gd name="T110" fmla="*/ 0 w 870"/>
                <a:gd name="T111" fmla="*/ 469808 h 882"/>
                <a:gd name="T112" fmla="*/ 2395724 w 870"/>
                <a:gd name="T113" fmla="*/ 2481263 h 882"/>
                <a:gd name="T114" fmla="*/ 2440714 w 870"/>
                <a:gd name="T115" fmla="*/ 1870794 h 882"/>
                <a:gd name="T116" fmla="*/ 2418219 w 870"/>
                <a:gd name="T117" fmla="*/ 1685121 h 88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70" h="882">
                  <a:moveTo>
                    <a:pt x="860" y="599"/>
                  </a:moveTo>
                  <a:cubicBezTo>
                    <a:pt x="857" y="593"/>
                    <a:pt x="852" y="587"/>
                    <a:pt x="845" y="583"/>
                  </a:cubicBezTo>
                  <a:cubicBezTo>
                    <a:pt x="840" y="581"/>
                    <a:pt x="834" y="580"/>
                    <a:pt x="829" y="580"/>
                  </a:cubicBezTo>
                  <a:cubicBezTo>
                    <a:pt x="829" y="580"/>
                    <a:pt x="829" y="580"/>
                    <a:pt x="828" y="580"/>
                  </a:cubicBezTo>
                  <a:cubicBezTo>
                    <a:pt x="828" y="580"/>
                    <a:pt x="828" y="580"/>
                    <a:pt x="828" y="580"/>
                  </a:cubicBezTo>
                  <a:cubicBezTo>
                    <a:pt x="821" y="580"/>
                    <a:pt x="814" y="583"/>
                    <a:pt x="810" y="586"/>
                  </a:cubicBezTo>
                  <a:cubicBezTo>
                    <a:pt x="803" y="590"/>
                    <a:pt x="798" y="594"/>
                    <a:pt x="793" y="598"/>
                  </a:cubicBezTo>
                  <a:cubicBezTo>
                    <a:pt x="787" y="602"/>
                    <a:pt x="781" y="605"/>
                    <a:pt x="771" y="608"/>
                  </a:cubicBezTo>
                  <a:cubicBezTo>
                    <a:pt x="770" y="608"/>
                    <a:pt x="770" y="609"/>
                    <a:pt x="769" y="609"/>
                  </a:cubicBezTo>
                  <a:cubicBezTo>
                    <a:pt x="765" y="610"/>
                    <a:pt x="761" y="610"/>
                    <a:pt x="758" y="610"/>
                  </a:cubicBezTo>
                  <a:cubicBezTo>
                    <a:pt x="757" y="610"/>
                    <a:pt x="757" y="611"/>
                    <a:pt x="756" y="611"/>
                  </a:cubicBezTo>
                  <a:cubicBezTo>
                    <a:pt x="738" y="611"/>
                    <a:pt x="723" y="602"/>
                    <a:pt x="711" y="587"/>
                  </a:cubicBezTo>
                  <a:cubicBezTo>
                    <a:pt x="699" y="572"/>
                    <a:pt x="691" y="550"/>
                    <a:pt x="690" y="525"/>
                  </a:cubicBezTo>
                  <a:cubicBezTo>
                    <a:pt x="690" y="496"/>
                    <a:pt x="695" y="470"/>
                    <a:pt x="704" y="453"/>
                  </a:cubicBezTo>
                  <a:cubicBezTo>
                    <a:pt x="708" y="445"/>
                    <a:pt x="714" y="439"/>
                    <a:pt x="720" y="434"/>
                  </a:cubicBezTo>
                  <a:cubicBezTo>
                    <a:pt x="727" y="430"/>
                    <a:pt x="735" y="427"/>
                    <a:pt x="745" y="427"/>
                  </a:cubicBezTo>
                  <a:cubicBezTo>
                    <a:pt x="750" y="427"/>
                    <a:pt x="756" y="427"/>
                    <a:pt x="761" y="429"/>
                  </a:cubicBezTo>
                  <a:cubicBezTo>
                    <a:pt x="778" y="432"/>
                    <a:pt x="788" y="438"/>
                    <a:pt x="797" y="445"/>
                  </a:cubicBezTo>
                  <a:cubicBezTo>
                    <a:pt x="802" y="448"/>
                    <a:pt x="806" y="452"/>
                    <a:pt x="811" y="455"/>
                  </a:cubicBezTo>
                  <a:cubicBezTo>
                    <a:pt x="816" y="458"/>
                    <a:pt x="823" y="462"/>
                    <a:pt x="831" y="462"/>
                  </a:cubicBezTo>
                  <a:cubicBezTo>
                    <a:pt x="831" y="462"/>
                    <a:pt x="832" y="461"/>
                    <a:pt x="832" y="461"/>
                  </a:cubicBezTo>
                  <a:cubicBezTo>
                    <a:pt x="832" y="461"/>
                    <a:pt x="832" y="462"/>
                    <a:pt x="832" y="462"/>
                  </a:cubicBezTo>
                  <a:cubicBezTo>
                    <a:pt x="837" y="461"/>
                    <a:pt x="841" y="460"/>
                    <a:pt x="845" y="459"/>
                  </a:cubicBezTo>
                  <a:cubicBezTo>
                    <a:pt x="851" y="456"/>
                    <a:pt x="854" y="451"/>
                    <a:pt x="856" y="448"/>
                  </a:cubicBezTo>
                  <a:cubicBezTo>
                    <a:pt x="859" y="442"/>
                    <a:pt x="860" y="437"/>
                    <a:pt x="861" y="431"/>
                  </a:cubicBezTo>
                  <a:cubicBezTo>
                    <a:pt x="863" y="423"/>
                    <a:pt x="864" y="413"/>
                    <a:pt x="864" y="402"/>
                  </a:cubicBezTo>
                  <a:cubicBezTo>
                    <a:pt x="864" y="391"/>
                    <a:pt x="865" y="379"/>
                    <a:pt x="864" y="365"/>
                  </a:cubicBezTo>
                  <a:cubicBezTo>
                    <a:pt x="864" y="338"/>
                    <a:pt x="863" y="306"/>
                    <a:pt x="861" y="277"/>
                  </a:cubicBezTo>
                  <a:cubicBezTo>
                    <a:pt x="859" y="246"/>
                    <a:pt x="854" y="190"/>
                    <a:pt x="851" y="165"/>
                  </a:cubicBezTo>
                  <a:cubicBezTo>
                    <a:pt x="555" y="179"/>
                    <a:pt x="511" y="173"/>
                    <a:pt x="503" y="171"/>
                  </a:cubicBezTo>
                  <a:cubicBezTo>
                    <a:pt x="497" y="170"/>
                    <a:pt x="492" y="169"/>
                    <a:pt x="486" y="166"/>
                  </a:cubicBezTo>
                  <a:cubicBezTo>
                    <a:pt x="482" y="164"/>
                    <a:pt x="478" y="161"/>
                    <a:pt x="475" y="155"/>
                  </a:cubicBezTo>
                  <a:cubicBezTo>
                    <a:pt x="473" y="151"/>
                    <a:pt x="472" y="146"/>
                    <a:pt x="472" y="142"/>
                  </a:cubicBezTo>
                  <a:cubicBezTo>
                    <a:pt x="472" y="142"/>
                    <a:pt x="472" y="142"/>
                    <a:pt x="472" y="141"/>
                  </a:cubicBezTo>
                  <a:cubicBezTo>
                    <a:pt x="472" y="141"/>
                    <a:pt x="472" y="141"/>
                    <a:pt x="472" y="141"/>
                  </a:cubicBezTo>
                  <a:cubicBezTo>
                    <a:pt x="472" y="133"/>
                    <a:pt x="476" y="126"/>
                    <a:pt x="479" y="121"/>
                  </a:cubicBezTo>
                  <a:cubicBezTo>
                    <a:pt x="482" y="116"/>
                    <a:pt x="486" y="111"/>
                    <a:pt x="489" y="107"/>
                  </a:cubicBezTo>
                  <a:cubicBezTo>
                    <a:pt x="495" y="98"/>
                    <a:pt x="502" y="88"/>
                    <a:pt x="505" y="71"/>
                  </a:cubicBezTo>
                  <a:cubicBezTo>
                    <a:pt x="506" y="65"/>
                    <a:pt x="507" y="60"/>
                    <a:pt x="507" y="55"/>
                  </a:cubicBezTo>
                  <a:cubicBezTo>
                    <a:pt x="506" y="44"/>
                    <a:pt x="504" y="36"/>
                    <a:pt x="499" y="30"/>
                  </a:cubicBezTo>
                  <a:cubicBezTo>
                    <a:pt x="495" y="23"/>
                    <a:pt x="489" y="18"/>
                    <a:pt x="480" y="13"/>
                  </a:cubicBezTo>
                  <a:cubicBezTo>
                    <a:pt x="464" y="4"/>
                    <a:pt x="438" y="0"/>
                    <a:pt x="409" y="0"/>
                  </a:cubicBezTo>
                  <a:cubicBezTo>
                    <a:pt x="383" y="0"/>
                    <a:pt x="362" y="8"/>
                    <a:pt x="347" y="20"/>
                  </a:cubicBezTo>
                  <a:cubicBezTo>
                    <a:pt x="332" y="32"/>
                    <a:pt x="323" y="48"/>
                    <a:pt x="323" y="66"/>
                  </a:cubicBezTo>
                  <a:cubicBezTo>
                    <a:pt x="323" y="66"/>
                    <a:pt x="323" y="67"/>
                    <a:pt x="323" y="67"/>
                  </a:cubicBezTo>
                  <a:cubicBezTo>
                    <a:pt x="323" y="71"/>
                    <a:pt x="324" y="75"/>
                    <a:pt x="325" y="78"/>
                  </a:cubicBezTo>
                  <a:cubicBezTo>
                    <a:pt x="325" y="79"/>
                    <a:pt x="325" y="80"/>
                    <a:pt x="326" y="81"/>
                  </a:cubicBezTo>
                  <a:cubicBezTo>
                    <a:pt x="328" y="91"/>
                    <a:pt x="332" y="97"/>
                    <a:pt x="336" y="103"/>
                  </a:cubicBezTo>
                  <a:cubicBezTo>
                    <a:pt x="340" y="108"/>
                    <a:pt x="344" y="112"/>
                    <a:pt x="348" y="119"/>
                  </a:cubicBezTo>
                  <a:cubicBezTo>
                    <a:pt x="351" y="124"/>
                    <a:pt x="354" y="130"/>
                    <a:pt x="354" y="137"/>
                  </a:cubicBezTo>
                  <a:cubicBezTo>
                    <a:pt x="354" y="138"/>
                    <a:pt x="354" y="138"/>
                    <a:pt x="354" y="138"/>
                  </a:cubicBezTo>
                  <a:cubicBezTo>
                    <a:pt x="354" y="138"/>
                    <a:pt x="354" y="138"/>
                    <a:pt x="354" y="138"/>
                  </a:cubicBezTo>
                  <a:cubicBezTo>
                    <a:pt x="354" y="144"/>
                    <a:pt x="354" y="150"/>
                    <a:pt x="350" y="155"/>
                  </a:cubicBezTo>
                  <a:cubicBezTo>
                    <a:pt x="342" y="165"/>
                    <a:pt x="323" y="168"/>
                    <a:pt x="316" y="170"/>
                  </a:cubicBezTo>
                  <a:cubicBezTo>
                    <a:pt x="304" y="172"/>
                    <a:pt x="290" y="173"/>
                    <a:pt x="274" y="173"/>
                  </a:cubicBezTo>
                  <a:cubicBezTo>
                    <a:pt x="239" y="174"/>
                    <a:pt x="72" y="169"/>
                    <a:pt x="0" y="167"/>
                  </a:cubicBezTo>
                  <a:cubicBezTo>
                    <a:pt x="4" y="560"/>
                    <a:pt x="342" y="873"/>
                    <a:pt x="852" y="882"/>
                  </a:cubicBezTo>
                  <a:cubicBezTo>
                    <a:pt x="855" y="851"/>
                    <a:pt x="866" y="717"/>
                    <a:pt x="868" y="665"/>
                  </a:cubicBezTo>
                  <a:cubicBezTo>
                    <a:pt x="869" y="649"/>
                    <a:pt x="870" y="625"/>
                    <a:pt x="860" y="599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141077D6-5642-4D04-952F-46A0F232D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6903" y="2699984"/>
              <a:ext cx="2901757" cy="2384685"/>
            </a:xfrm>
            <a:custGeom>
              <a:avLst/>
              <a:gdLst>
                <a:gd name="T0" fmla="*/ 627 w 1032"/>
                <a:gd name="T1" fmla="*/ 27 h 848"/>
                <a:gd name="T2" fmla="*/ 623 w 1032"/>
                <a:gd name="T3" fmla="*/ 43 h 848"/>
                <a:gd name="T4" fmla="*/ 629 w 1032"/>
                <a:gd name="T5" fmla="*/ 62 h 848"/>
                <a:gd name="T6" fmla="*/ 652 w 1032"/>
                <a:gd name="T7" fmla="*/ 101 h 848"/>
                <a:gd name="T8" fmla="*/ 654 w 1032"/>
                <a:gd name="T9" fmla="*/ 114 h 848"/>
                <a:gd name="T10" fmla="*/ 630 w 1032"/>
                <a:gd name="T11" fmla="*/ 161 h 848"/>
                <a:gd name="T12" fmla="*/ 497 w 1032"/>
                <a:gd name="T13" fmla="*/ 168 h 848"/>
                <a:gd name="T14" fmla="*/ 470 w 1032"/>
                <a:gd name="T15" fmla="*/ 126 h 848"/>
                <a:gd name="T16" fmla="*/ 488 w 1032"/>
                <a:gd name="T17" fmla="*/ 74 h 848"/>
                <a:gd name="T18" fmla="*/ 505 w 1032"/>
                <a:gd name="T19" fmla="*/ 40 h 848"/>
                <a:gd name="T20" fmla="*/ 505 w 1032"/>
                <a:gd name="T21" fmla="*/ 39 h 848"/>
                <a:gd name="T22" fmla="*/ 492 w 1032"/>
                <a:gd name="T23" fmla="*/ 16 h 848"/>
                <a:gd name="T24" fmla="*/ 446 w 1032"/>
                <a:gd name="T25" fmla="*/ 7 h 848"/>
                <a:gd name="T26" fmla="*/ 320 w 1032"/>
                <a:gd name="T27" fmla="*/ 11 h 848"/>
                <a:gd name="T28" fmla="*/ 162 w 1032"/>
                <a:gd name="T29" fmla="*/ 20 h 848"/>
                <a:gd name="T30" fmla="*/ 161 w 1032"/>
                <a:gd name="T31" fmla="*/ 20 h 848"/>
                <a:gd name="T32" fmla="*/ 163 w 1032"/>
                <a:gd name="T33" fmla="*/ 20 h 848"/>
                <a:gd name="T34" fmla="*/ 171 w 1032"/>
                <a:gd name="T35" fmla="*/ 132 h 848"/>
                <a:gd name="T36" fmla="*/ 174 w 1032"/>
                <a:gd name="T37" fmla="*/ 257 h 848"/>
                <a:gd name="T38" fmla="*/ 166 w 1032"/>
                <a:gd name="T39" fmla="*/ 303 h 848"/>
                <a:gd name="T40" fmla="*/ 142 w 1032"/>
                <a:gd name="T41" fmla="*/ 317 h 848"/>
                <a:gd name="T42" fmla="*/ 141 w 1032"/>
                <a:gd name="T43" fmla="*/ 317 h 848"/>
                <a:gd name="T44" fmla="*/ 107 w 1032"/>
                <a:gd name="T45" fmla="*/ 300 h 848"/>
                <a:gd name="T46" fmla="*/ 55 w 1032"/>
                <a:gd name="T47" fmla="*/ 282 h 848"/>
                <a:gd name="T48" fmla="*/ 14 w 1032"/>
                <a:gd name="T49" fmla="*/ 308 h 848"/>
                <a:gd name="T50" fmla="*/ 21 w 1032"/>
                <a:gd name="T51" fmla="*/ 442 h 848"/>
                <a:gd name="T52" fmla="*/ 68 w 1032"/>
                <a:gd name="T53" fmla="*/ 465 h 848"/>
                <a:gd name="T54" fmla="*/ 81 w 1032"/>
                <a:gd name="T55" fmla="*/ 463 h 848"/>
                <a:gd name="T56" fmla="*/ 120 w 1032"/>
                <a:gd name="T57" fmla="*/ 441 h 848"/>
                <a:gd name="T58" fmla="*/ 138 w 1032"/>
                <a:gd name="T59" fmla="*/ 435 h 848"/>
                <a:gd name="T60" fmla="*/ 155 w 1032"/>
                <a:gd name="T61" fmla="*/ 438 h 848"/>
                <a:gd name="T62" fmla="*/ 178 w 1032"/>
                <a:gd name="T63" fmla="*/ 520 h 848"/>
                <a:gd name="T64" fmla="*/ 171 w 1032"/>
                <a:gd name="T65" fmla="*/ 737 h 848"/>
                <a:gd name="T66" fmla="*/ 381 w 1032"/>
                <a:gd name="T67" fmla="*/ 848 h 848"/>
                <a:gd name="T68" fmla="*/ 1032 w 1032"/>
                <a:gd name="T69" fmla="*/ 16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32" h="848">
                  <a:moveTo>
                    <a:pt x="657" y="9"/>
                  </a:moveTo>
                  <a:cubicBezTo>
                    <a:pt x="648" y="10"/>
                    <a:pt x="630" y="19"/>
                    <a:pt x="627" y="27"/>
                  </a:cubicBezTo>
                  <a:cubicBezTo>
                    <a:pt x="625" y="32"/>
                    <a:pt x="623" y="37"/>
                    <a:pt x="623" y="43"/>
                  </a:cubicBezTo>
                  <a:cubicBezTo>
                    <a:pt x="623" y="43"/>
                    <a:pt x="623" y="43"/>
                    <a:pt x="623" y="43"/>
                  </a:cubicBezTo>
                  <a:cubicBezTo>
                    <a:pt x="623" y="43"/>
                    <a:pt x="623" y="44"/>
                    <a:pt x="623" y="44"/>
                  </a:cubicBezTo>
                  <a:cubicBezTo>
                    <a:pt x="623" y="51"/>
                    <a:pt x="626" y="57"/>
                    <a:pt x="629" y="62"/>
                  </a:cubicBezTo>
                  <a:cubicBezTo>
                    <a:pt x="633" y="69"/>
                    <a:pt x="638" y="73"/>
                    <a:pt x="641" y="79"/>
                  </a:cubicBezTo>
                  <a:cubicBezTo>
                    <a:pt x="645" y="84"/>
                    <a:pt x="649" y="90"/>
                    <a:pt x="652" y="101"/>
                  </a:cubicBezTo>
                  <a:cubicBezTo>
                    <a:pt x="652" y="101"/>
                    <a:pt x="652" y="102"/>
                    <a:pt x="652" y="103"/>
                  </a:cubicBezTo>
                  <a:cubicBezTo>
                    <a:pt x="653" y="107"/>
                    <a:pt x="654" y="110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4" y="133"/>
                    <a:pt x="645" y="149"/>
                    <a:pt x="630" y="161"/>
                  </a:cubicBezTo>
                  <a:cubicBezTo>
                    <a:pt x="615" y="173"/>
                    <a:pt x="594" y="181"/>
                    <a:pt x="568" y="181"/>
                  </a:cubicBezTo>
                  <a:cubicBezTo>
                    <a:pt x="539" y="182"/>
                    <a:pt x="513" y="177"/>
                    <a:pt x="497" y="168"/>
                  </a:cubicBezTo>
                  <a:cubicBezTo>
                    <a:pt x="488" y="163"/>
                    <a:pt x="482" y="158"/>
                    <a:pt x="478" y="151"/>
                  </a:cubicBezTo>
                  <a:cubicBezTo>
                    <a:pt x="473" y="145"/>
                    <a:pt x="471" y="137"/>
                    <a:pt x="470" y="126"/>
                  </a:cubicBezTo>
                  <a:cubicBezTo>
                    <a:pt x="470" y="121"/>
                    <a:pt x="471" y="116"/>
                    <a:pt x="472" y="110"/>
                  </a:cubicBezTo>
                  <a:cubicBezTo>
                    <a:pt x="475" y="93"/>
                    <a:pt x="482" y="83"/>
                    <a:pt x="488" y="74"/>
                  </a:cubicBezTo>
                  <a:cubicBezTo>
                    <a:pt x="492" y="70"/>
                    <a:pt x="495" y="66"/>
                    <a:pt x="498" y="60"/>
                  </a:cubicBezTo>
                  <a:cubicBezTo>
                    <a:pt x="502" y="55"/>
                    <a:pt x="505" y="48"/>
                    <a:pt x="505" y="40"/>
                  </a:cubicBezTo>
                  <a:cubicBezTo>
                    <a:pt x="505" y="40"/>
                    <a:pt x="505" y="40"/>
                    <a:pt x="505" y="40"/>
                  </a:cubicBezTo>
                  <a:cubicBezTo>
                    <a:pt x="505" y="40"/>
                    <a:pt x="505" y="39"/>
                    <a:pt x="505" y="39"/>
                  </a:cubicBezTo>
                  <a:cubicBezTo>
                    <a:pt x="505" y="35"/>
                    <a:pt x="504" y="30"/>
                    <a:pt x="502" y="26"/>
                  </a:cubicBezTo>
                  <a:cubicBezTo>
                    <a:pt x="499" y="21"/>
                    <a:pt x="495" y="17"/>
                    <a:pt x="492" y="16"/>
                  </a:cubicBezTo>
                  <a:cubicBezTo>
                    <a:pt x="485" y="12"/>
                    <a:pt x="480" y="11"/>
                    <a:pt x="475" y="10"/>
                  </a:cubicBezTo>
                  <a:cubicBezTo>
                    <a:pt x="466" y="9"/>
                    <a:pt x="457" y="8"/>
                    <a:pt x="446" y="7"/>
                  </a:cubicBezTo>
                  <a:cubicBezTo>
                    <a:pt x="435" y="7"/>
                    <a:pt x="422" y="7"/>
                    <a:pt x="409" y="7"/>
                  </a:cubicBezTo>
                  <a:cubicBezTo>
                    <a:pt x="381" y="7"/>
                    <a:pt x="350" y="9"/>
                    <a:pt x="320" y="11"/>
                  </a:cubicBezTo>
                  <a:cubicBezTo>
                    <a:pt x="291" y="12"/>
                    <a:pt x="191" y="17"/>
                    <a:pt x="162" y="20"/>
                  </a:cubicBezTo>
                  <a:cubicBezTo>
                    <a:pt x="162" y="20"/>
                    <a:pt x="162" y="20"/>
                    <a:pt x="162" y="20"/>
                  </a:cubicBezTo>
                  <a:cubicBezTo>
                    <a:pt x="162" y="20"/>
                    <a:pt x="162" y="20"/>
                    <a:pt x="162" y="20"/>
                  </a:cubicBezTo>
                  <a:cubicBezTo>
                    <a:pt x="162" y="20"/>
                    <a:pt x="162" y="20"/>
                    <a:pt x="161" y="20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2" y="20"/>
                    <a:pt x="163" y="20"/>
                    <a:pt x="163" y="20"/>
                  </a:cubicBezTo>
                  <a:cubicBezTo>
                    <a:pt x="163" y="20"/>
                    <a:pt x="162" y="20"/>
                    <a:pt x="161" y="20"/>
                  </a:cubicBezTo>
                  <a:cubicBezTo>
                    <a:pt x="164" y="45"/>
                    <a:pt x="169" y="101"/>
                    <a:pt x="171" y="132"/>
                  </a:cubicBezTo>
                  <a:cubicBezTo>
                    <a:pt x="173" y="161"/>
                    <a:pt x="174" y="193"/>
                    <a:pt x="174" y="220"/>
                  </a:cubicBezTo>
                  <a:cubicBezTo>
                    <a:pt x="175" y="234"/>
                    <a:pt x="174" y="246"/>
                    <a:pt x="174" y="257"/>
                  </a:cubicBezTo>
                  <a:cubicBezTo>
                    <a:pt x="174" y="268"/>
                    <a:pt x="173" y="278"/>
                    <a:pt x="171" y="286"/>
                  </a:cubicBezTo>
                  <a:cubicBezTo>
                    <a:pt x="170" y="292"/>
                    <a:pt x="169" y="297"/>
                    <a:pt x="166" y="303"/>
                  </a:cubicBezTo>
                  <a:cubicBezTo>
                    <a:pt x="164" y="306"/>
                    <a:pt x="161" y="311"/>
                    <a:pt x="155" y="314"/>
                  </a:cubicBezTo>
                  <a:cubicBezTo>
                    <a:pt x="151" y="315"/>
                    <a:pt x="147" y="316"/>
                    <a:pt x="142" y="317"/>
                  </a:cubicBezTo>
                  <a:cubicBezTo>
                    <a:pt x="142" y="317"/>
                    <a:pt x="142" y="316"/>
                    <a:pt x="142" y="316"/>
                  </a:cubicBezTo>
                  <a:cubicBezTo>
                    <a:pt x="142" y="316"/>
                    <a:pt x="141" y="317"/>
                    <a:pt x="141" y="317"/>
                  </a:cubicBezTo>
                  <a:cubicBezTo>
                    <a:pt x="133" y="317"/>
                    <a:pt x="126" y="313"/>
                    <a:pt x="121" y="310"/>
                  </a:cubicBezTo>
                  <a:cubicBezTo>
                    <a:pt x="116" y="307"/>
                    <a:pt x="112" y="303"/>
                    <a:pt x="107" y="300"/>
                  </a:cubicBezTo>
                  <a:cubicBezTo>
                    <a:pt x="98" y="293"/>
                    <a:pt x="88" y="287"/>
                    <a:pt x="71" y="284"/>
                  </a:cubicBezTo>
                  <a:cubicBezTo>
                    <a:pt x="66" y="282"/>
                    <a:pt x="60" y="282"/>
                    <a:pt x="55" y="282"/>
                  </a:cubicBezTo>
                  <a:cubicBezTo>
                    <a:pt x="45" y="282"/>
                    <a:pt x="37" y="285"/>
                    <a:pt x="30" y="289"/>
                  </a:cubicBezTo>
                  <a:cubicBezTo>
                    <a:pt x="24" y="294"/>
                    <a:pt x="18" y="300"/>
                    <a:pt x="14" y="308"/>
                  </a:cubicBezTo>
                  <a:cubicBezTo>
                    <a:pt x="5" y="325"/>
                    <a:pt x="0" y="351"/>
                    <a:pt x="0" y="380"/>
                  </a:cubicBezTo>
                  <a:cubicBezTo>
                    <a:pt x="1" y="405"/>
                    <a:pt x="9" y="427"/>
                    <a:pt x="21" y="442"/>
                  </a:cubicBezTo>
                  <a:cubicBezTo>
                    <a:pt x="33" y="457"/>
                    <a:pt x="48" y="466"/>
                    <a:pt x="66" y="466"/>
                  </a:cubicBezTo>
                  <a:cubicBezTo>
                    <a:pt x="67" y="466"/>
                    <a:pt x="67" y="465"/>
                    <a:pt x="68" y="465"/>
                  </a:cubicBezTo>
                  <a:cubicBezTo>
                    <a:pt x="71" y="465"/>
                    <a:pt x="75" y="465"/>
                    <a:pt x="79" y="464"/>
                  </a:cubicBezTo>
                  <a:cubicBezTo>
                    <a:pt x="80" y="464"/>
                    <a:pt x="80" y="463"/>
                    <a:pt x="81" y="463"/>
                  </a:cubicBezTo>
                  <a:cubicBezTo>
                    <a:pt x="91" y="460"/>
                    <a:pt x="97" y="457"/>
                    <a:pt x="103" y="453"/>
                  </a:cubicBezTo>
                  <a:cubicBezTo>
                    <a:pt x="108" y="449"/>
                    <a:pt x="113" y="445"/>
                    <a:pt x="120" y="441"/>
                  </a:cubicBezTo>
                  <a:cubicBezTo>
                    <a:pt x="124" y="438"/>
                    <a:pt x="131" y="435"/>
                    <a:pt x="138" y="435"/>
                  </a:cubicBezTo>
                  <a:cubicBezTo>
                    <a:pt x="138" y="435"/>
                    <a:pt x="138" y="435"/>
                    <a:pt x="138" y="435"/>
                  </a:cubicBezTo>
                  <a:cubicBezTo>
                    <a:pt x="139" y="435"/>
                    <a:pt x="139" y="435"/>
                    <a:pt x="139" y="435"/>
                  </a:cubicBezTo>
                  <a:cubicBezTo>
                    <a:pt x="144" y="435"/>
                    <a:pt x="150" y="436"/>
                    <a:pt x="155" y="438"/>
                  </a:cubicBezTo>
                  <a:cubicBezTo>
                    <a:pt x="162" y="442"/>
                    <a:pt x="167" y="448"/>
                    <a:pt x="170" y="454"/>
                  </a:cubicBezTo>
                  <a:cubicBezTo>
                    <a:pt x="180" y="480"/>
                    <a:pt x="179" y="504"/>
                    <a:pt x="178" y="520"/>
                  </a:cubicBezTo>
                  <a:cubicBezTo>
                    <a:pt x="176" y="572"/>
                    <a:pt x="165" y="706"/>
                    <a:pt x="162" y="737"/>
                  </a:cubicBezTo>
                  <a:cubicBezTo>
                    <a:pt x="165" y="737"/>
                    <a:pt x="168" y="737"/>
                    <a:pt x="171" y="737"/>
                  </a:cubicBezTo>
                  <a:cubicBezTo>
                    <a:pt x="271" y="738"/>
                    <a:pt x="366" y="723"/>
                    <a:pt x="455" y="696"/>
                  </a:cubicBezTo>
                  <a:cubicBezTo>
                    <a:pt x="441" y="764"/>
                    <a:pt x="381" y="848"/>
                    <a:pt x="381" y="848"/>
                  </a:cubicBezTo>
                  <a:cubicBezTo>
                    <a:pt x="997" y="560"/>
                    <a:pt x="1032" y="148"/>
                    <a:pt x="1032" y="22"/>
                  </a:cubicBezTo>
                  <a:cubicBezTo>
                    <a:pt x="1032" y="20"/>
                    <a:pt x="1032" y="18"/>
                    <a:pt x="1032" y="16"/>
                  </a:cubicBezTo>
                  <a:cubicBezTo>
                    <a:pt x="955" y="11"/>
                    <a:pt x="714" y="0"/>
                    <a:pt x="657" y="9"/>
                  </a:cubicBezTo>
                  <a:close/>
                </a:path>
              </a:pathLst>
            </a:custGeom>
            <a:solidFill>
              <a:schemeClr val="accent5"/>
            </a:solidFill>
            <a:ln w="3810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</p:grpSp>
      <p:sp>
        <p:nvSpPr>
          <p:cNvPr id="18" name="Freeform 61">
            <a:extLst>
              <a:ext uri="{FF2B5EF4-FFF2-40B4-BE49-F238E27FC236}">
                <a16:creationId xmlns:a16="http://schemas.microsoft.com/office/drawing/2014/main" id="{0D718985-5DB6-4466-8D52-722B374B2C90}"/>
              </a:ext>
            </a:extLst>
          </p:cNvPr>
          <p:cNvSpPr>
            <a:spLocks noEditPoints="1"/>
          </p:cNvSpPr>
          <p:nvPr/>
        </p:nvSpPr>
        <p:spPr bwMode="auto">
          <a:xfrm>
            <a:off x="4894262" y="1608931"/>
            <a:ext cx="608012" cy="608013"/>
          </a:xfrm>
          <a:custGeom>
            <a:avLst/>
            <a:gdLst>
              <a:gd name="T0" fmla="*/ 4374 w 278"/>
              <a:gd name="T1" fmla="*/ 351199 h 277"/>
              <a:gd name="T2" fmla="*/ 32806 w 278"/>
              <a:gd name="T3" fmla="*/ 443389 h 277"/>
              <a:gd name="T4" fmla="*/ 153097 w 278"/>
              <a:gd name="T5" fmla="*/ 568503 h 277"/>
              <a:gd name="T6" fmla="*/ 400239 w 278"/>
              <a:gd name="T7" fmla="*/ 592648 h 277"/>
              <a:gd name="T8" fmla="*/ 529278 w 278"/>
              <a:gd name="T9" fmla="*/ 509238 h 277"/>
              <a:gd name="T10" fmla="*/ 583955 w 278"/>
              <a:gd name="T11" fmla="*/ 423634 h 277"/>
              <a:gd name="T12" fmla="*/ 608013 w 278"/>
              <a:gd name="T13" fmla="*/ 305104 h 277"/>
              <a:gd name="T14" fmla="*/ 586142 w 278"/>
              <a:gd name="T15" fmla="*/ 193159 h 277"/>
              <a:gd name="T16" fmla="*/ 518342 w 278"/>
              <a:gd name="T17" fmla="*/ 87800 h 277"/>
              <a:gd name="T18" fmla="*/ 428671 w 278"/>
              <a:gd name="T19" fmla="*/ 26340 h 277"/>
              <a:gd name="T20" fmla="*/ 373994 w 278"/>
              <a:gd name="T21" fmla="*/ 6585 h 277"/>
              <a:gd name="T22" fmla="*/ 205587 w 278"/>
              <a:gd name="T23" fmla="*/ 15365 h 277"/>
              <a:gd name="T24" fmla="*/ 104981 w 278"/>
              <a:gd name="T25" fmla="*/ 74630 h 277"/>
              <a:gd name="T26" fmla="*/ 32806 w 278"/>
              <a:gd name="T27" fmla="*/ 164624 h 277"/>
              <a:gd name="T28" fmla="*/ 251516 w 278"/>
              <a:gd name="T29" fmla="*/ 19755 h 277"/>
              <a:gd name="T30" fmla="*/ 297445 w 278"/>
              <a:gd name="T31" fmla="*/ 15365 h 277"/>
              <a:gd name="T32" fmla="*/ 339000 w 278"/>
              <a:gd name="T33" fmla="*/ 30730 h 277"/>
              <a:gd name="T34" fmla="*/ 376181 w 278"/>
              <a:gd name="T35" fmla="*/ 30730 h 277"/>
              <a:gd name="T36" fmla="*/ 408987 w 278"/>
              <a:gd name="T37" fmla="*/ 39510 h 277"/>
              <a:gd name="T38" fmla="*/ 400239 w 278"/>
              <a:gd name="T39" fmla="*/ 46095 h 277"/>
              <a:gd name="T40" fmla="*/ 352123 w 278"/>
              <a:gd name="T41" fmla="*/ 65850 h 277"/>
              <a:gd name="T42" fmla="*/ 358684 w 278"/>
              <a:gd name="T43" fmla="*/ 96580 h 277"/>
              <a:gd name="T44" fmla="*/ 387116 w 278"/>
              <a:gd name="T45" fmla="*/ 116335 h 277"/>
              <a:gd name="T46" fmla="*/ 430858 w 278"/>
              <a:gd name="T47" fmla="*/ 59265 h 277"/>
              <a:gd name="T48" fmla="*/ 461477 w 278"/>
              <a:gd name="T49" fmla="*/ 70240 h 277"/>
              <a:gd name="T50" fmla="*/ 487723 w 278"/>
              <a:gd name="T51" fmla="*/ 83410 h 277"/>
              <a:gd name="T52" fmla="*/ 500845 w 278"/>
              <a:gd name="T53" fmla="*/ 125115 h 277"/>
              <a:gd name="T54" fmla="*/ 492097 w 278"/>
              <a:gd name="T55" fmla="*/ 147065 h 277"/>
              <a:gd name="T56" fmla="*/ 476787 w 278"/>
              <a:gd name="T57" fmla="*/ 129505 h 277"/>
              <a:gd name="T58" fmla="*/ 437419 w 278"/>
              <a:gd name="T59" fmla="*/ 136090 h 277"/>
              <a:gd name="T60" fmla="*/ 463665 w 278"/>
              <a:gd name="T61" fmla="*/ 151455 h 277"/>
              <a:gd name="T62" fmla="*/ 400239 w 278"/>
              <a:gd name="T63" fmla="*/ 175599 h 277"/>
              <a:gd name="T64" fmla="*/ 369619 w 278"/>
              <a:gd name="T65" fmla="*/ 197549 h 277"/>
              <a:gd name="T66" fmla="*/ 330252 w 278"/>
              <a:gd name="T67" fmla="*/ 234864 h 277"/>
              <a:gd name="T68" fmla="*/ 306194 w 278"/>
              <a:gd name="T69" fmla="*/ 259009 h 277"/>
              <a:gd name="T70" fmla="*/ 253703 w 278"/>
              <a:gd name="T71" fmla="*/ 254619 h 277"/>
              <a:gd name="T72" fmla="*/ 212148 w 278"/>
              <a:gd name="T73" fmla="*/ 307299 h 277"/>
              <a:gd name="T74" fmla="*/ 266826 w 278"/>
              <a:gd name="T75" fmla="*/ 302909 h 277"/>
              <a:gd name="T76" fmla="*/ 258077 w 278"/>
              <a:gd name="T77" fmla="*/ 335834 h 277"/>
              <a:gd name="T78" fmla="*/ 314942 w 278"/>
              <a:gd name="T79" fmla="*/ 377539 h 277"/>
              <a:gd name="T80" fmla="*/ 356497 w 278"/>
              <a:gd name="T81" fmla="*/ 359979 h 277"/>
              <a:gd name="T82" fmla="*/ 391490 w 278"/>
              <a:gd name="T83" fmla="*/ 373149 h 277"/>
              <a:gd name="T84" fmla="*/ 426484 w 278"/>
              <a:gd name="T85" fmla="*/ 384124 h 277"/>
              <a:gd name="T86" fmla="*/ 474600 w 278"/>
              <a:gd name="T87" fmla="*/ 417049 h 277"/>
              <a:gd name="T88" fmla="*/ 511781 w 278"/>
              <a:gd name="T89" fmla="*/ 443389 h 277"/>
              <a:gd name="T90" fmla="*/ 371807 w 278"/>
              <a:gd name="T91" fmla="*/ 583868 h 277"/>
              <a:gd name="T92" fmla="*/ 328065 w 278"/>
              <a:gd name="T93" fmla="*/ 520213 h 277"/>
              <a:gd name="T94" fmla="*/ 295258 w 278"/>
              <a:gd name="T95" fmla="*/ 460948 h 277"/>
              <a:gd name="T96" fmla="*/ 310568 w 278"/>
              <a:gd name="T97" fmla="*/ 419244 h 277"/>
              <a:gd name="T98" fmla="*/ 299632 w 278"/>
              <a:gd name="T99" fmla="*/ 388514 h 277"/>
              <a:gd name="T100" fmla="*/ 260265 w 278"/>
              <a:gd name="T101" fmla="*/ 353394 h 277"/>
              <a:gd name="T102" fmla="*/ 199026 w 278"/>
              <a:gd name="T103" fmla="*/ 333639 h 277"/>
              <a:gd name="T104" fmla="*/ 164032 w 278"/>
              <a:gd name="T105" fmla="*/ 305104 h 277"/>
              <a:gd name="T106" fmla="*/ 135600 w 278"/>
              <a:gd name="T107" fmla="*/ 245839 h 277"/>
              <a:gd name="T108" fmla="*/ 142161 w 278"/>
              <a:gd name="T109" fmla="*/ 291934 h 277"/>
              <a:gd name="T110" fmla="*/ 118103 w 278"/>
              <a:gd name="T111" fmla="*/ 252424 h 277"/>
              <a:gd name="T112" fmla="*/ 102794 w 278"/>
              <a:gd name="T113" fmla="*/ 201939 h 277"/>
              <a:gd name="T114" fmla="*/ 133413 w 278"/>
              <a:gd name="T115" fmla="*/ 138285 h 277"/>
              <a:gd name="T116" fmla="*/ 126852 w 278"/>
              <a:gd name="T117" fmla="*/ 100970 h 277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78" h="277">
                <a:moveTo>
                  <a:pt x="3" y="111"/>
                </a:moveTo>
                <a:cubicBezTo>
                  <a:pt x="2" y="113"/>
                  <a:pt x="2" y="115"/>
                  <a:pt x="2" y="117"/>
                </a:cubicBezTo>
                <a:cubicBezTo>
                  <a:pt x="1" y="120"/>
                  <a:pt x="1" y="122"/>
                  <a:pt x="1" y="124"/>
                </a:cubicBezTo>
                <a:cubicBezTo>
                  <a:pt x="0" y="129"/>
                  <a:pt x="0" y="134"/>
                  <a:pt x="0" y="139"/>
                </a:cubicBezTo>
                <a:cubicBezTo>
                  <a:pt x="0" y="143"/>
                  <a:pt x="0" y="148"/>
                  <a:pt x="1" y="153"/>
                </a:cubicBezTo>
                <a:cubicBezTo>
                  <a:pt x="1" y="155"/>
                  <a:pt x="1" y="157"/>
                  <a:pt x="2" y="160"/>
                </a:cubicBezTo>
                <a:cubicBezTo>
                  <a:pt x="2" y="162"/>
                  <a:pt x="2" y="164"/>
                  <a:pt x="3" y="167"/>
                </a:cubicBezTo>
                <a:cubicBezTo>
                  <a:pt x="3" y="169"/>
                  <a:pt x="4" y="171"/>
                  <a:pt x="4" y="173"/>
                </a:cubicBezTo>
                <a:cubicBezTo>
                  <a:pt x="5" y="178"/>
                  <a:pt x="7" y="182"/>
                  <a:pt x="8" y="186"/>
                </a:cubicBezTo>
                <a:cubicBezTo>
                  <a:pt x="9" y="188"/>
                  <a:pt x="10" y="191"/>
                  <a:pt x="11" y="193"/>
                </a:cubicBezTo>
                <a:cubicBezTo>
                  <a:pt x="12" y="195"/>
                  <a:pt x="13" y="197"/>
                  <a:pt x="14" y="199"/>
                </a:cubicBezTo>
                <a:cubicBezTo>
                  <a:pt x="14" y="200"/>
                  <a:pt x="15" y="201"/>
                  <a:pt x="15" y="202"/>
                </a:cubicBezTo>
                <a:cubicBezTo>
                  <a:pt x="16" y="204"/>
                  <a:pt x="17" y="206"/>
                  <a:pt x="18" y="208"/>
                </a:cubicBezTo>
                <a:cubicBezTo>
                  <a:pt x="22" y="214"/>
                  <a:pt x="25" y="219"/>
                  <a:pt x="30" y="224"/>
                </a:cubicBezTo>
                <a:cubicBezTo>
                  <a:pt x="32" y="227"/>
                  <a:pt x="34" y="230"/>
                  <a:pt x="36" y="232"/>
                </a:cubicBezTo>
                <a:cubicBezTo>
                  <a:pt x="38" y="234"/>
                  <a:pt x="39" y="235"/>
                  <a:pt x="41" y="237"/>
                </a:cubicBezTo>
                <a:cubicBezTo>
                  <a:pt x="42" y="238"/>
                  <a:pt x="44" y="240"/>
                  <a:pt x="45" y="241"/>
                </a:cubicBezTo>
                <a:cubicBezTo>
                  <a:pt x="53" y="248"/>
                  <a:pt x="61" y="254"/>
                  <a:pt x="70" y="259"/>
                </a:cubicBezTo>
                <a:cubicBezTo>
                  <a:pt x="72" y="260"/>
                  <a:pt x="74" y="261"/>
                  <a:pt x="76" y="262"/>
                </a:cubicBezTo>
                <a:cubicBezTo>
                  <a:pt x="80" y="264"/>
                  <a:pt x="84" y="266"/>
                  <a:pt x="88" y="268"/>
                </a:cubicBezTo>
                <a:cubicBezTo>
                  <a:pt x="90" y="269"/>
                  <a:pt x="92" y="269"/>
                  <a:pt x="94" y="270"/>
                </a:cubicBezTo>
                <a:cubicBezTo>
                  <a:pt x="108" y="275"/>
                  <a:pt x="123" y="277"/>
                  <a:pt x="139" y="277"/>
                </a:cubicBezTo>
                <a:cubicBezTo>
                  <a:pt x="149" y="277"/>
                  <a:pt x="160" y="276"/>
                  <a:pt x="170" y="274"/>
                </a:cubicBezTo>
                <a:cubicBezTo>
                  <a:pt x="174" y="273"/>
                  <a:pt x="179" y="272"/>
                  <a:pt x="183" y="270"/>
                </a:cubicBezTo>
                <a:cubicBezTo>
                  <a:pt x="186" y="269"/>
                  <a:pt x="188" y="269"/>
                  <a:pt x="190" y="268"/>
                </a:cubicBezTo>
                <a:cubicBezTo>
                  <a:pt x="194" y="266"/>
                  <a:pt x="198" y="264"/>
                  <a:pt x="202" y="262"/>
                </a:cubicBezTo>
                <a:cubicBezTo>
                  <a:pt x="204" y="261"/>
                  <a:pt x="206" y="260"/>
                  <a:pt x="208" y="259"/>
                </a:cubicBezTo>
                <a:cubicBezTo>
                  <a:pt x="217" y="254"/>
                  <a:pt x="225" y="248"/>
                  <a:pt x="232" y="241"/>
                </a:cubicBezTo>
                <a:cubicBezTo>
                  <a:pt x="234" y="240"/>
                  <a:pt x="236" y="238"/>
                  <a:pt x="237" y="237"/>
                </a:cubicBezTo>
                <a:cubicBezTo>
                  <a:pt x="239" y="235"/>
                  <a:pt x="240" y="234"/>
                  <a:pt x="242" y="232"/>
                </a:cubicBezTo>
                <a:cubicBezTo>
                  <a:pt x="244" y="230"/>
                  <a:pt x="246" y="227"/>
                  <a:pt x="248" y="224"/>
                </a:cubicBezTo>
                <a:cubicBezTo>
                  <a:pt x="251" y="220"/>
                  <a:pt x="254" y="216"/>
                  <a:pt x="257" y="211"/>
                </a:cubicBezTo>
                <a:cubicBezTo>
                  <a:pt x="258" y="210"/>
                  <a:pt x="259" y="209"/>
                  <a:pt x="259" y="208"/>
                </a:cubicBezTo>
                <a:cubicBezTo>
                  <a:pt x="260" y="206"/>
                  <a:pt x="262" y="204"/>
                  <a:pt x="263" y="202"/>
                </a:cubicBezTo>
                <a:cubicBezTo>
                  <a:pt x="263" y="201"/>
                  <a:pt x="264" y="200"/>
                  <a:pt x="264" y="199"/>
                </a:cubicBezTo>
                <a:cubicBezTo>
                  <a:pt x="265" y="197"/>
                  <a:pt x="266" y="195"/>
                  <a:pt x="267" y="193"/>
                </a:cubicBezTo>
                <a:cubicBezTo>
                  <a:pt x="268" y="191"/>
                  <a:pt x="269" y="188"/>
                  <a:pt x="269" y="186"/>
                </a:cubicBezTo>
                <a:cubicBezTo>
                  <a:pt x="271" y="182"/>
                  <a:pt x="272" y="178"/>
                  <a:pt x="273" y="173"/>
                </a:cubicBezTo>
                <a:cubicBezTo>
                  <a:pt x="274" y="171"/>
                  <a:pt x="274" y="169"/>
                  <a:pt x="275" y="167"/>
                </a:cubicBezTo>
                <a:cubicBezTo>
                  <a:pt x="275" y="164"/>
                  <a:pt x="276" y="162"/>
                  <a:pt x="276" y="160"/>
                </a:cubicBezTo>
                <a:cubicBezTo>
                  <a:pt x="277" y="157"/>
                  <a:pt x="277" y="155"/>
                  <a:pt x="277" y="153"/>
                </a:cubicBezTo>
                <a:cubicBezTo>
                  <a:pt x="278" y="148"/>
                  <a:pt x="278" y="143"/>
                  <a:pt x="278" y="139"/>
                </a:cubicBezTo>
                <a:cubicBezTo>
                  <a:pt x="278" y="134"/>
                  <a:pt x="278" y="129"/>
                  <a:pt x="277" y="124"/>
                </a:cubicBezTo>
                <a:cubicBezTo>
                  <a:pt x="277" y="122"/>
                  <a:pt x="277" y="120"/>
                  <a:pt x="276" y="117"/>
                </a:cubicBezTo>
                <a:cubicBezTo>
                  <a:pt x="276" y="115"/>
                  <a:pt x="275" y="113"/>
                  <a:pt x="275" y="111"/>
                </a:cubicBezTo>
                <a:cubicBezTo>
                  <a:pt x="274" y="108"/>
                  <a:pt x="274" y="106"/>
                  <a:pt x="273" y="104"/>
                </a:cubicBezTo>
                <a:cubicBezTo>
                  <a:pt x="272" y="99"/>
                  <a:pt x="271" y="95"/>
                  <a:pt x="269" y="91"/>
                </a:cubicBezTo>
                <a:cubicBezTo>
                  <a:pt x="269" y="90"/>
                  <a:pt x="269" y="89"/>
                  <a:pt x="268" y="88"/>
                </a:cubicBezTo>
                <a:cubicBezTo>
                  <a:pt x="267" y="85"/>
                  <a:pt x="266" y="81"/>
                  <a:pt x="264" y="78"/>
                </a:cubicBezTo>
                <a:cubicBezTo>
                  <a:pt x="264" y="77"/>
                  <a:pt x="263" y="76"/>
                  <a:pt x="263" y="75"/>
                </a:cubicBezTo>
                <a:cubicBezTo>
                  <a:pt x="262" y="73"/>
                  <a:pt x="260" y="71"/>
                  <a:pt x="259" y="69"/>
                </a:cubicBezTo>
                <a:cubicBezTo>
                  <a:pt x="256" y="64"/>
                  <a:pt x="252" y="58"/>
                  <a:pt x="248" y="53"/>
                </a:cubicBezTo>
                <a:cubicBezTo>
                  <a:pt x="246" y="50"/>
                  <a:pt x="244" y="48"/>
                  <a:pt x="242" y="45"/>
                </a:cubicBezTo>
                <a:cubicBezTo>
                  <a:pt x="240" y="44"/>
                  <a:pt x="239" y="42"/>
                  <a:pt x="237" y="40"/>
                </a:cubicBezTo>
                <a:cubicBezTo>
                  <a:pt x="236" y="39"/>
                  <a:pt x="234" y="37"/>
                  <a:pt x="232" y="36"/>
                </a:cubicBezTo>
                <a:cubicBezTo>
                  <a:pt x="229" y="33"/>
                  <a:pt x="226" y="30"/>
                  <a:pt x="222" y="28"/>
                </a:cubicBezTo>
                <a:cubicBezTo>
                  <a:pt x="218" y="24"/>
                  <a:pt x="213" y="21"/>
                  <a:pt x="208" y="18"/>
                </a:cubicBezTo>
                <a:cubicBezTo>
                  <a:pt x="206" y="17"/>
                  <a:pt x="204" y="16"/>
                  <a:pt x="202" y="15"/>
                </a:cubicBezTo>
                <a:cubicBezTo>
                  <a:pt x="201" y="14"/>
                  <a:pt x="200" y="14"/>
                  <a:pt x="199" y="14"/>
                </a:cubicBezTo>
                <a:cubicBezTo>
                  <a:pt x="198" y="13"/>
                  <a:pt x="197" y="12"/>
                  <a:pt x="196" y="12"/>
                </a:cubicBezTo>
                <a:cubicBezTo>
                  <a:pt x="196" y="12"/>
                  <a:pt x="195" y="12"/>
                  <a:pt x="195" y="11"/>
                </a:cubicBezTo>
                <a:cubicBezTo>
                  <a:pt x="193" y="11"/>
                  <a:pt x="191" y="10"/>
                  <a:pt x="190" y="9"/>
                </a:cubicBezTo>
                <a:cubicBezTo>
                  <a:pt x="190" y="9"/>
                  <a:pt x="190" y="9"/>
                  <a:pt x="190" y="9"/>
                </a:cubicBezTo>
                <a:cubicBezTo>
                  <a:pt x="188" y="9"/>
                  <a:pt x="186" y="8"/>
                  <a:pt x="184" y="7"/>
                </a:cubicBezTo>
                <a:cubicBezTo>
                  <a:pt x="184" y="7"/>
                  <a:pt x="184" y="7"/>
                  <a:pt x="183" y="7"/>
                </a:cubicBezTo>
                <a:cubicBezTo>
                  <a:pt x="179" y="6"/>
                  <a:pt x="175" y="4"/>
                  <a:pt x="171" y="3"/>
                </a:cubicBezTo>
                <a:cubicBezTo>
                  <a:pt x="169" y="3"/>
                  <a:pt x="168" y="3"/>
                  <a:pt x="167" y="3"/>
                </a:cubicBezTo>
                <a:cubicBezTo>
                  <a:pt x="166" y="2"/>
                  <a:pt x="165" y="2"/>
                  <a:pt x="164" y="2"/>
                </a:cubicBezTo>
                <a:cubicBezTo>
                  <a:pt x="157" y="1"/>
                  <a:pt x="149" y="0"/>
                  <a:pt x="141" y="0"/>
                </a:cubicBezTo>
                <a:cubicBezTo>
                  <a:pt x="141" y="0"/>
                  <a:pt x="140" y="0"/>
                  <a:pt x="139" y="0"/>
                </a:cubicBezTo>
                <a:cubicBezTo>
                  <a:pt x="137" y="0"/>
                  <a:pt x="136" y="0"/>
                  <a:pt x="135" y="0"/>
                </a:cubicBezTo>
                <a:cubicBezTo>
                  <a:pt x="121" y="0"/>
                  <a:pt x="107" y="3"/>
                  <a:pt x="94" y="7"/>
                </a:cubicBezTo>
                <a:cubicBezTo>
                  <a:pt x="92" y="8"/>
                  <a:pt x="90" y="9"/>
                  <a:pt x="88" y="9"/>
                </a:cubicBezTo>
                <a:cubicBezTo>
                  <a:pt x="87" y="10"/>
                  <a:pt x="87" y="10"/>
                  <a:pt x="86" y="10"/>
                </a:cubicBezTo>
                <a:cubicBezTo>
                  <a:pt x="85" y="11"/>
                  <a:pt x="83" y="11"/>
                  <a:pt x="82" y="12"/>
                </a:cubicBezTo>
                <a:cubicBezTo>
                  <a:pt x="80" y="13"/>
                  <a:pt x="78" y="14"/>
                  <a:pt x="76" y="15"/>
                </a:cubicBezTo>
                <a:cubicBezTo>
                  <a:pt x="74" y="16"/>
                  <a:pt x="72" y="17"/>
                  <a:pt x="70" y="18"/>
                </a:cubicBezTo>
                <a:cubicBezTo>
                  <a:pt x="62" y="23"/>
                  <a:pt x="55" y="28"/>
                  <a:pt x="48" y="34"/>
                </a:cubicBezTo>
                <a:cubicBezTo>
                  <a:pt x="47" y="34"/>
                  <a:pt x="46" y="35"/>
                  <a:pt x="45" y="36"/>
                </a:cubicBezTo>
                <a:cubicBezTo>
                  <a:pt x="44" y="37"/>
                  <a:pt x="42" y="39"/>
                  <a:pt x="41" y="40"/>
                </a:cubicBezTo>
                <a:cubicBezTo>
                  <a:pt x="39" y="42"/>
                  <a:pt x="38" y="44"/>
                  <a:pt x="36" y="45"/>
                </a:cubicBezTo>
                <a:cubicBezTo>
                  <a:pt x="34" y="48"/>
                  <a:pt x="32" y="50"/>
                  <a:pt x="30" y="53"/>
                </a:cubicBezTo>
                <a:cubicBezTo>
                  <a:pt x="25" y="58"/>
                  <a:pt x="22" y="64"/>
                  <a:pt x="18" y="69"/>
                </a:cubicBezTo>
                <a:cubicBezTo>
                  <a:pt x="17" y="71"/>
                  <a:pt x="16" y="73"/>
                  <a:pt x="15" y="75"/>
                </a:cubicBezTo>
                <a:cubicBezTo>
                  <a:pt x="15" y="76"/>
                  <a:pt x="14" y="77"/>
                  <a:pt x="14" y="78"/>
                </a:cubicBezTo>
                <a:cubicBezTo>
                  <a:pt x="12" y="81"/>
                  <a:pt x="11" y="85"/>
                  <a:pt x="10" y="88"/>
                </a:cubicBezTo>
                <a:cubicBezTo>
                  <a:pt x="9" y="89"/>
                  <a:pt x="9" y="90"/>
                  <a:pt x="8" y="91"/>
                </a:cubicBezTo>
                <a:cubicBezTo>
                  <a:pt x="7" y="95"/>
                  <a:pt x="5" y="99"/>
                  <a:pt x="4" y="104"/>
                </a:cubicBezTo>
                <a:cubicBezTo>
                  <a:pt x="4" y="106"/>
                  <a:pt x="3" y="108"/>
                  <a:pt x="3" y="111"/>
                </a:cubicBezTo>
                <a:close/>
                <a:moveTo>
                  <a:pt x="115" y="9"/>
                </a:moveTo>
                <a:cubicBezTo>
                  <a:pt x="116" y="10"/>
                  <a:pt x="116" y="10"/>
                  <a:pt x="116" y="10"/>
                </a:cubicBezTo>
                <a:cubicBezTo>
                  <a:pt x="118" y="10"/>
                  <a:pt x="119" y="10"/>
                  <a:pt x="121" y="10"/>
                </a:cubicBezTo>
                <a:cubicBezTo>
                  <a:pt x="122" y="10"/>
                  <a:pt x="123" y="10"/>
                  <a:pt x="125" y="10"/>
                </a:cubicBezTo>
                <a:cubicBezTo>
                  <a:pt x="127" y="10"/>
                  <a:pt x="131" y="13"/>
                  <a:pt x="133" y="12"/>
                </a:cubicBezTo>
                <a:cubicBezTo>
                  <a:pt x="134" y="11"/>
                  <a:pt x="134" y="11"/>
                  <a:pt x="134" y="10"/>
                </a:cubicBezTo>
                <a:cubicBezTo>
                  <a:pt x="135" y="9"/>
                  <a:pt x="135" y="8"/>
                  <a:pt x="136" y="7"/>
                </a:cubicBezTo>
                <a:cubicBezTo>
                  <a:pt x="137" y="7"/>
                  <a:pt x="138" y="7"/>
                  <a:pt x="139" y="7"/>
                </a:cubicBezTo>
                <a:cubicBezTo>
                  <a:pt x="148" y="7"/>
                  <a:pt x="157" y="8"/>
                  <a:pt x="165" y="10"/>
                </a:cubicBezTo>
                <a:cubicBezTo>
                  <a:pt x="165" y="11"/>
                  <a:pt x="164" y="10"/>
                  <a:pt x="163" y="11"/>
                </a:cubicBezTo>
                <a:cubicBezTo>
                  <a:pt x="162" y="11"/>
                  <a:pt x="161" y="12"/>
                  <a:pt x="160" y="12"/>
                </a:cubicBezTo>
                <a:cubicBezTo>
                  <a:pt x="158" y="13"/>
                  <a:pt x="155" y="12"/>
                  <a:pt x="153" y="12"/>
                </a:cubicBezTo>
                <a:cubicBezTo>
                  <a:pt x="153" y="13"/>
                  <a:pt x="154" y="13"/>
                  <a:pt x="155" y="14"/>
                </a:cubicBezTo>
                <a:cubicBezTo>
                  <a:pt x="157" y="15"/>
                  <a:pt x="159" y="15"/>
                  <a:pt x="162" y="14"/>
                </a:cubicBezTo>
                <a:cubicBezTo>
                  <a:pt x="163" y="14"/>
                  <a:pt x="165" y="15"/>
                  <a:pt x="166" y="14"/>
                </a:cubicBezTo>
                <a:cubicBezTo>
                  <a:pt x="167" y="13"/>
                  <a:pt x="167" y="12"/>
                  <a:pt x="168" y="11"/>
                </a:cubicBezTo>
                <a:cubicBezTo>
                  <a:pt x="168" y="11"/>
                  <a:pt x="169" y="11"/>
                  <a:pt x="169" y="11"/>
                </a:cubicBezTo>
                <a:cubicBezTo>
                  <a:pt x="171" y="11"/>
                  <a:pt x="172" y="11"/>
                  <a:pt x="173" y="12"/>
                </a:cubicBezTo>
                <a:cubicBezTo>
                  <a:pt x="173" y="13"/>
                  <a:pt x="172" y="13"/>
                  <a:pt x="172" y="14"/>
                </a:cubicBezTo>
                <a:cubicBezTo>
                  <a:pt x="173" y="14"/>
                  <a:pt x="175" y="14"/>
                  <a:pt x="176" y="12"/>
                </a:cubicBezTo>
                <a:cubicBezTo>
                  <a:pt x="176" y="13"/>
                  <a:pt x="177" y="13"/>
                  <a:pt x="177" y="13"/>
                </a:cubicBezTo>
                <a:cubicBezTo>
                  <a:pt x="179" y="13"/>
                  <a:pt x="181" y="14"/>
                  <a:pt x="183" y="15"/>
                </a:cubicBezTo>
                <a:cubicBezTo>
                  <a:pt x="186" y="16"/>
                  <a:pt x="189" y="17"/>
                  <a:pt x="192" y="18"/>
                </a:cubicBezTo>
                <a:cubicBezTo>
                  <a:pt x="191" y="19"/>
                  <a:pt x="191" y="19"/>
                  <a:pt x="190" y="19"/>
                </a:cubicBezTo>
                <a:cubicBezTo>
                  <a:pt x="189" y="19"/>
                  <a:pt x="189" y="17"/>
                  <a:pt x="187" y="18"/>
                </a:cubicBezTo>
                <a:cubicBezTo>
                  <a:pt x="187" y="20"/>
                  <a:pt x="189" y="20"/>
                  <a:pt x="190" y="21"/>
                </a:cubicBezTo>
                <a:cubicBezTo>
                  <a:pt x="191" y="22"/>
                  <a:pt x="193" y="23"/>
                  <a:pt x="193" y="24"/>
                </a:cubicBezTo>
                <a:cubicBezTo>
                  <a:pt x="192" y="27"/>
                  <a:pt x="190" y="24"/>
                  <a:pt x="188" y="24"/>
                </a:cubicBezTo>
                <a:cubicBezTo>
                  <a:pt x="186" y="24"/>
                  <a:pt x="183" y="28"/>
                  <a:pt x="181" y="25"/>
                </a:cubicBezTo>
                <a:cubicBezTo>
                  <a:pt x="181" y="23"/>
                  <a:pt x="183" y="23"/>
                  <a:pt x="184" y="21"/>
                </a:cubicBezTo>
                <a:cubicBezTo>
                  <a:pt x="183" y="21"/>
                  <a:pt x="183" y="21"/>
                  <a:pt x="183" y="21"/>
                </a:cubicBezTo>
                <a:cubicBezTo>
                  <a:pt x="182" y="22"/>
                  <a:pt x="181" y="22"/>
                  <a:pt x="180" y="22"/>
                </a:cubicBezTo>
                <a:cubicBezTo>
                  <a:pt x="180" y="23"/>
                  <a:pt x="179" y="23"/>
                  <a:pt x="177" y="24"/>
                </a:cubicBezTo>
                <a:cubicBezTo>
                  <a:pt x="176" y="24"/>
                  <a:pt x="175" y="24"/>
                  <a:pt x="174" y="24"/>
                </a:cubicBezTo>
                <a:cubicBezTo>
                  <a:pt x="173" y="25"/>
                  <a:pt x="171" y="26"/>
                  <a:pt x="169" y="27"/>
                </a:cubicBezTo>
                <a:cubicBezTo>
                  <a:pt x="169" y="27"/>
                  <a:pt x="168" y="27"/>
                  <a:pt x="167" y="27"/>
                </a:cubicBezTo>
                <a:cubicBezTo>
                  <a:pt x="165" y="28"/>
                  <a:pt x="163" y="29"/>
                  <a:pt x="161" y="30"/>
                </a:cubicBezTo>
                <a:cubicBezTo>
                  <a:pt x="159" y="31"/>
                  <a:pt x="157" y="32"/>
                  <a:pt x="156" y="33"/>
                </a:cubicBezTo>
                <a:cubicBezTo>
                  <a:pt x="155" y="33"/>
                  <a:pt x="154" y="35"/>
                  <a:pt x="154" y="36"/>
                </a:cubicBezTo>
                <a:cubicBezTo>
                  <a:pt x="154" y="37"/>
                  <a:pt x="156" y="37"/>
                  <a:pt x="156" y="38"/>
                </a:cubicBezTo>
                <a:cubicBezTo>
                  <a:pt x="156" y="39"/>
                  <a:pt x="155" y="40"/>
                  <a:pt x="155" y="41"/>
                </a:cubicBezTo>
                <a:cubicBezTo>
                  <a:pt x="156" y="41"/>
                  <a:pt x="157" y="41"/>
                  <a:pt x="158" y="41"/>
                </a:cubicBezTo>
                <a:cubicBezTo>
                  <a:pt x="161" y="41"/>
                  <a:pt x="162" y="43"/>
                  <a:pt x="164" y="44"/>
                </a:cubicBezTo>
                <a:cubicBezTo>
                  <a:pt x="165" y="45"/>
                  <a:pt x="167" y="46"/>
                  <a:pt x="169" y="46"/>
                </a:cubicBezTo>
                <a:cubicBezTo>
                  <a:pt x="171" y="46"/>
                  <a:pt x="173" y="45"/>
                  <a:pt x="173" y="47"/>
                </a:cubicBezTo>
                <a:cubicBezTo>
                  <a:pt x="174" y="48"/>
                  <a:pt x="171" y="49"/>
                  <a:pt x="171" y="50"/>
                </a:cubicBezTo>
                <a:cubicBezTo>
                  <a:pt x="172" y="51"/>
                  <a:pt x="171" y="52"/>
                  <a:pt x="171" y="53"/>
                </a:cubicBezTo>
                <a:cubicBezTo>
                  <a:pt x="171" y="54"/>
                  <a:pt x="172" y="56"/>
                  <a:pt x="173" y="56"/>
                </a:cubicBezTo>
                <a:cubicBezTo>
                  <a:pt x="174" y="56"/>
                  <a:pt x="177" y="55"/>
                  <a:pt x="177" y="53"/>
                </a:cubicBezTo>
                <a:cubicBezTo>
                  <a:pt x="178" y="51"/>
                  <a:pt x="178" y="49"/>
                  <a:pt x="179" y="48"/>
                </a:cubicBezTo>
                <a:cubicBezTo>
                  <a:pt x="186" y="48"/>
                  <a:pt x="192" y="44"/>
                  <a:pt x="191" y="37"/>
                </a:cubicBezTo>
                <a:cubicBezTo>
                  <a:pt x="191" y="37"/>
                  <a:pt x="191" y="36"/>
                  <a:pt x="191" y="35"/>
                </a:cubicBezTo>
                <a:cubicBezTo>
                  <a:pt x="191" y="34"/>
                  <a:pt x="193" y="33"/>
                  <a:pt x="193" y="31"/>
                </a:cubicBezTo>
                <a:cubicBezTo>
                  <a:pt x="194" y="31"/>
                  <a:pt x="194" y="30"/>
                  <a:pt x="195" y="30"/>
                </a:cubicBezTo>
                <a:cubicBezTo>
                  <a:pt x="195" y="29"/>
                  <a:pt x="196" y="28"/>
                  <a:pt x="197" y="27"/>
                </a:cubicBezTo>
                <a:cubicBezTo>
                  <a:pt x="197" y="27"/>
                  <a:pt x="197" y="27"/>
                  <a:pt x="197" y="27"/>
                </a:cubicBezTo>
                <a:cubicBezTo>
                  <a:pt x="198" y="27"/>
                  <a:pt x="198" y="27"/>
                  <a:pt x="199" y="27"/>
                </a:cubicBezTo>
                <a:cubicBezTo>
                  <a:pt x="200" y="28"/>
                  <a:pt x="201" y="28"/>
                  <a:pt x="203" y="28"/>
                </a:cubicBezTo>
                <a:cubicBezTo>
                  <a:pt x="203" y="28"/>
                  <a:pt x="204" y="27"/>
                  <a:pt x="205" y="28"/>
                </a:cubicBezTo>
                <a:cubicBezTo>
                  <a:pt x="207" y="28"/>
                  <a:pt x="207" y="30"/>
                  <a:pt x="209" y="30"/>
                </a:cubicBezTo>
                <a:cubicBezTo>
                  <a:pt x="210" y="31"/>
                  <a:pt x="211" y="31"/>
                  <a:pt x="211" y="32"/>
                </a:cubicBezTo>
                <a:cubicBezTo>
                  <a:pt x="211" y="34"/>
                  <a:pt x="209" y="34"/>
                  <a:pt x="209" y="35"/>
                </a:cubicBezTo>
                <a:cubicBezTo>
                  <a:pt x="209" y="35"/>
                  <a:pt x="209" y="35"/>
                  <a:pt x="209" y="35"/>
                </a:cubicBezTo>
                <a:cubicBezTo>
                  <a:pt x="210" y="37"/>
                  <a:pt x="211" y="38"/>
                  <a:pt x="212" y="38"/>
                </a:cubicBezTo>
                <a:cubicBezTo>
                  <a:pt x="213" y="38"/>
                  <a:pt x="214" y="37"/>
                  <a:pt x="215" y="37"/>
                </a:cubicBezTo>
                <a:cubicBezTo>
                  <a:pt x="217" y="36"/>
                  <a:pt x="218" y="35"/>
                  <a:pt x="219" y="34"/>
                </a:cubicBezTo>
                <a:cubicBezTo>
                  <a:pt x="220" y="35"/>
                  <a:pt x="222" y="36"/>
                  <a:pt x="223" y="38"/>
                </a:cubicBezTo>
                <a:cubicBezTo>
                  <a:pt x="223" y="38"/>
                  <a:pt x="223" y="39"/>
                  <a:pt x="223" y="39"/>
                </a:cubicBezTo>
                <a:cubicBezTo>
                  <a:pt x="224" y="41"/>
                  <a:pt x="223" y="42"/>
                  <a:pt x="223" y="44"/>
                </a:cubicBezTo>
                <a:cubicBezTo>
                  <a:pt x="223" y="46"/>
                  <a:pt x="227" y="46"/>
                  <a:pt x="228" y="47"/>
                </a:cubicBezTo>
                <a:cubicBezTo>
                  <a:pt x="229" y="48"/>
                  <a:pt x="229" y="49"/>
                  <a:pt x="229" y="49"/>
                </a:cubicBezTo>
                <a:cubicBezTo>
                  <a:pt x="230" y="50"/>
                  <a:pt x="231" y="50"/>
                  <a:pt x="231" y="51"/>
                </a:cubicBezTo>
                <a:cubicBezTo>
                  <a:pt x="231" y="54"/>
                  <a:pt x="229" y="54"/>
                  <a:pt x="229" y="57"/>
                </a:cubicBezTo>
                <a:cubicBezTo>
                  <a:pt x="228" y="58"/>
                  <a:pt x="227" y="58"/>
                  <a:pt x="227" y="59"/>
                </a:cubicBezTo>
                <a:cubicBezTo>
                  <a:pt x="227" y="62"/>
                  <a:pt x="231" y="60"/>
                  <a:pt x="232" y="62"/>
                </a:cubicBezTo>
                <a:cubicBezTo>
                  <a:pt x="232" y="63"/>
                  <a:pt x="231" y="64"/>
                  <a:pt x="231" y="65"/>
                </a:cubicBezTo>
                <a:cubicBezTo>
                  <a:pt x="232" y="66"/>
                  <a:pt x="232" y="69"/>
                  <a:pt x="230" y="69"/>
                </a:cubicBezTo>
                <a:cubicBezTo>
                  <a:pt x="229" y="69"/>
                  <a:pt x="229" y="67"/>
                  <a:pt x="227" y="67"/>
                </a:cubicBezTo>
                <a:cubicBezTo>
                  <a:pt x="227" y="67"/>
                  <a:pt x="226" y="67"/>
                  <a:pt x="225" y="67"/>
                </a:cubicBezTo>
                <a:cubicBezTo>
                  <a:pt x="224" y="66"/>
                  <a:pt x="223" y="66"/>
                  <a:pt x="222" y="66"/>
                </a:cubicBezTo>
                <a:cubicBezTo>
                  <a:pt x="221" y="66"/>
                  <a:pt x="219" y="66"/>
                  <a:pt x="218" y="65"/>
                </a:cubicBezTo>
                <a:cubicBezTo>
                  <a:pt x="219" y="63"/>
                  <a:pt x="222" y="61"/>
                  <a:pt x="224" y="59"/>
                </a:cubicBezTo>
                <a:cubicBezTo>
                  <a:pt x="225" y="58"/>
                  <a:pt x="226" y="58"/>
                  <a:pt x="226" y="56"/>
                </a:cubicBezTo>
                <a:cubicBezTo>
                  <a:pt x="224" y="55"/>
                  <a:pt x="223" y="57"/>
                  <a:pt x="222" y="57"/>
                </a:cubicBezTo>
                <a:cubicBezTo>
                  <a:pt x="220" y="58"/>
                  <a:pt x="219" y="59"/>
                  <a:pt x="218" y="59"/>
                </a:cubicBezTo>
                <a:cubicBezTo>
                  <a:pt x="215" y="60"/>
                  <a:pt x="212" y="58"/>
                  <a:pt x="210" y="60"/>
                </a:cubicBezTo>
                <a:cubicBezTo>
                  <a:pt x="209" y="61"/>
                  <a:pt x="212" y="60"/>
                  <a:pt x="212" y="62"/>
                </a:cubicBezTo>
                <a:cubicBezTo>
                  <a:pt x="211" y="62"/>
                  <a:pt x="210" y="62"/>
                  <a:pt x="209" y="62"/>
                </a:cubicBezTo>
                <a:cubicBezTo>
                  <a:pt x="208" y="61"/>
                  <a:pt x="209" y="60"/>
                  <a:pt x="208" y="60"/>
                </a:cubicBezTo>
                <a:cubicBezTo>
                  <a:pt x="208" y="59"/>
                  <a:pt x="205" y="59"/>
                  <a:pt x="203" y="59"/>
                </a:cubicBezTo>
                <a:cubicBezTo>
                  <a:pt x="202" y="59"/>
                  <a:pt x="200" y="60"/>
                  <a:pt x="200" y="62"/>
                </a:cubicBezTo>
                <a:cubicBezTo>
                  <a:pt x="202" y="63"/>
                  <a:pt x="205" y="61"/>
                  <a:pt x="206" y="63"/>
                </a:cubicBezTo>
                <a:cubicBezTo>
                  <a:pt x="205" y="65"/>
                  <a:pt x="202" y="66"/>
                  <a:pt x="203" y="68"/>
                </a:cubicBezTo>
                <a:cubicBezTo>
                  <a:pt x="203" y="69"/>
                  <a:pt x="204" y="71"/>
                  <a:pt x="205" y="71"/>
                </a:cubicBezTo>
                <a:cubicBezTo>
                  <a:pt x="206" y="71"/>
                  <a:pt x="206" y="70"/>
                  <a:pt x="207" y="70"/>
                </a:cubicBezTo>
                <a:cubicBezTo>
                  <a:pt x="208" y="70"/>
                  <a:pt x="208" y="71"/>
                  <a:pt x="209" y="71"/>
                </a:cubicBezTo>
                <a:cubicBezTo>
                  <a:pt x="210" y="70"/>
                  <a:pt x="211" y="68"/>
                  <a:pt x="212" y="69"/>
                </a:cubicBezTo>
                <a:cubicBezTo>
                  <a:pt x="214" y="71"/>
                  <a:pt x="211" y="72"/>
                  <a:pt x="209" y="73"/>
                </a:cubicBezTo>
                <a:cubicBezTo>
                  <a:pt x="206" y="74"/>
                  <a:pt x="203" y="74"/>
                  <a:pt x="201" y="75"/>
                </a:cubicBezTo>
                <a:cubicBezTo>
                  <a:pt x="200" y="75"/>
                  <a:pt x="197" y="79"/>
                  <a:pt x="196" y="76"/>
                </a:cubicBezTo>
                <a:cubicBezTo>
                  <a:pt x="196" y="74"/>
                  <a:pt x="198" y="75"/>
                  <a:pt x="198" y="73"/>
                </a:cubicBezTo>
                <a:cubicBezTo>
                  <a:pt x="196" y="73"/>
                  <a:pt x="194" y="74"/>
                  <a:pt x="192" y="75"/>
                </a:cubicBezTo>
                <a:cubicBezTo>
                  <a:pt x="189" y="76"/>
                  <a:pt x="184" y="77"/>
                  <a:pt x="183" y="80"/>
                </a:cubicBezTo>
                <a:cubicBezTo>
                  <a:pt x="183" y="81"/>
                  <a:pt x="183" y="82"/>
                  <a:pt x="183" y="83"/>
                </a:cubicBezTo>
                <a:cubicBezTo>
                  <a:pt x="183" y="83"/>
                  <a:pt x="180" y="83"/>
                  <a:pt x="179" y="83"/>
                </a:cubicBezTo>
                <a:cubicBezTo>
                  <a:pt x="178" y="84"/>
                  <a:pt x="177" y="85"/>
                  <a:pt x="176" y="85"/>
                </a:cubicBezTo>
                <a:cubicBezTo>
                  <a:pt x="175" y="85"/>
                  <a:pt x="174" y="85"/>
                  <a:pt x="174" y="85"/>
                </a:cubicBezTo>
                <a:cubicBezTo>
                  <a:pt x="173" y="86"/>
                  <a:pt x="172" y="87"/>
                  <a:pt x="171" y="88"/>
                </a:cubicBezTo>
                <a:cubicBezTo>
                  <a:pt x="170" y="89"/>
                  <a:pt x="169" y="89"/>
                  <a:pt x="169" y="90"/>
                </a:cubicBezTo>
                <a:cubicBezTo>
                  <a:pt x="168" y="90"/>
                  <a:pt x="168" y="92"/>
                  <a:pt x="166" y="93"/>
                </a:cubicBezTo>
                <a:cubicBezTo>
                  <a:pt x="165" y="93"/>
                  <a:pt x="165" y="92"/>
                  <a:pt x="164" y="93"/>
                </a:cubicBezTo>
                <a:cubicBezTo>
                  <a:pt x="164" y="94"/>
                  <a:pt x="165" y="97"/>
                  <a:pt x="164" y="99"/>
                </a:cubicBezTo>
                <a:cubicBezTo>
                  <a:pt x="162" y="100"/>
                  <a:pt x="160" y="101"/>
                  <a:pt x="158" y="103"/>
                </a:cubicBezTo>
                <a:cubicBezTo>
                  <a:pt x="157" y="103"/>
                  <a:pt x="155" y="104"/>
                  <a:pt x="154" y="104"/>
                </a:cubicBezTo>
                <a:cubicBezTo>
                  <a:pt x="153" y="105"/>
                  <a:pt x="152" y="106"/>
                  <a:pt x="151" y="107"/>
                </a:cubicBezTo>
                <a:cubicBezTo>
                  <a:pt x="148" y="108"/>
                  <a:pt x="144" y="110"/>
                  <a:pt x="144" y="115"/>
                </a:cubicBezTo>
                <a:cubicBezTo>
                  <a:pt x="144" y="116"/>
                  <a:pt x="145" y="117"/>
                  <a:pt x="145" y="118"/>
                </a:cubicBezTo>
                <a:cubicBezTo>
                  <a:pt x="145" y="118"/>
                  <a:pt x="145" y="119"/>
                  <a:pt x="145" y="120"/>
                </a:cubicBezTo>
                <a:cubicBezTo>
                  <a:pt x="145" y="121"/>
                  <a:pt x="146" y="123"/>
                  <a:pt x="145" y="124"/>
                </a:cubicBezTo>
                <a:cubicBezTo>
                  <a:pt x="143" y="123"/>
                  <a:pt x="140" y="123"/>
                  <a:pt x="139" y="122"/>
                </a:cubicBezTo>
                <a:cubicBezTo>
                  <a:pt x="139" y="120"/>
                  <a:pt x="140" y="119"/>
                  <a:pt x="140" y="118"/>
                </a:cubicBezTo>
                <a:cubicBezTo>
                  <a:pt x="139" y="117"/>
                  <a:pt x="138" y="115"/>
                  <a:pt x="137" y="115"/>
                </a:cubicBezTo>
                <a:cubicBezTo>
                  <a:pt x="136" y="114"/>
                  <a:pt x="135" y="115"/>
                  <a:pt x="134" y="115"/>
                </a:cubicBezTo>
                <a:cubicBezTo>
                  <a:pt x="133" y="115"/>
                  <a:pt x="132" y="114"/>
                  <a:pt x="131" y="114"/>
                </a:cubicBezTo>
                <a:cubicBezTo>
                  <a:pt x="129" y="113"/>
                  <a:pt x="127" y="114"/>
                  <a:pt x="125" y="114"/>
                </a:cubicBezTo>
                <a:cubicBezTo>
                  <a:pt x="123" y="115"/>
                  <a:pt x="122" y="117"/>
                  <a:pt x="119" y="117"/>
                </a:cubicBezTo>
                <a:cubicBezTo>
                  <a:pt x="118" y="117"/>
                  <a:pt x="117" y="116"/>
                  <a:pt x="116" y="116"/>
                </a:cubicBezTo>
                <a:cubicBezTo>
                  <a:pt x="115" y="115"/>
                  <a:pt x="113" y="115"/>
                  <a:pt x="112" y="115"/>
                </a:cubicBezTo>
                <a:cubicBezTo>
                  <a:pt x="109" y="115"/>
                  <a:pt x="107" y="117"/>
                  <a:pt x="105" y="118"/>
                </a:cubicBezTo>
                <a:cubicBezTo>
                  <a:pt x="103" y="119"/>
                  <a:pt x="101" y="121"/>
                  <a:pt x="100" y="123"/>
                </a:cubicBezTo>
                <a:cubicBezTo>
                  <a:pt x="100" y="124"/>
                  <a:pt x="100" y="125"/>
                  <a:pt x="100" y="126"/>
                </a:cubicBezTo>
                <a:cubicBezTo>
                  <a:pt x="99" y="127"/>
                  <a:pt x="99" y="128"/>
                  <a:pt x="98" y="128"/>
                </a:cubicBezTo>
                <a:cubicBezTo>
                  <a:pt x="97" y="131"/>
                  <a:pt x="95" y="135"/>
                  <a:pt x="97" y="140"/>
                </a:cubicBezTo>
                <a:cubicBezTo>
                  <a:pt x="97" y="140"/>
                  <a:pt x="99" y="144"/>
                  <a:pt x="99" y="145"/>
                </a:cubicBezTo>
                <a:cubicBezTo>
                  <a:pt x="100" y="146"/>
                  <a:pt x="102" y="147"/>
                  <a:pt x="104" y="147"/>
                </a:cubicBezTo>
                <a:cubicBezTo>
                  <a:pt x="105" y="147"/>
                  <a:pt x="106" y="146"/>
                  <a:pt x="107" y="146"/>
                </a:cubicBezTo>
                <a:cubicBezTo>
                  <a:pt x="108" y="146"/>
                  <a:pt x="110" y="146"/>
                  <a:pt x="111" y="146"/>
                </a:cubicBezTo>
                <a:cubicBezTo>
                  <a:pt x="114" y="145"/>
                  <a:pt x="113" y="140"/>
                  <a:pt x="117" y="139"/>
                </a:cubicBezTo>
                <a:cubicBezTo>
                  <a:pt x="118" y="138"/>
                  <a:pt x="120" y="138"/>
                  <a:pt x="122" y="138"/>
                </a:cubicBezTo>
                <a:cubicBezTo>
                  <a:pt x="123" y="138"/>
                  <a:pt x="123" y="140"/>
                  <a:pt x="123" y="141"/>
                </a:cubicBezTo>
                <a:cubicBezTo>
                  <a:pt x="123" y="141"/>
                  <a:pt x="122" y="142"/>
                  <a:pt x="122" y="143"/>
                </a:cubicBezTo>
                <a:cubicBezTo>
                  <a:pt x="122" y="144"/>
                  <a:pt x="122" y="145"/>
                  <a:pt x="121" y="146"/>
                </a:cubicBezTo>
                <a:cubicBezTo>
                  <a:pt x="121" y="147"/>
                  <a:pt x="120" y="148"/>
                  <a:pt x="119" y="149"/>
                </a:cubicBezTo>
                <a:cubicBezTo>
                  <a:pt x="119" y="149"/>
                  <a:pt x="119" y="150"/>
                  <a:pt x="119" y="151"/>
                </a:cubicBezTo>
                <a:cubicBezTo>
                  <a:pt x="119" y="152"/>
                  <a:pt x="118" y="152"/>
                  <a:pt x="118" y="153"/>
                </a:cubicBezTo>
                <a:cubicBezTo>
                  <a:pt x="121" y="155"/>
                  <a:pt x="125" y="153"/>
                  <a:pt x="128" y="153"/>
                </a:cubicBezTo>
                <a:cubicBezTo>
                  <a:pt x="129" y="154"/>
                  <a:pt x="132" y="155"/>
                  <a:pt x="132" y="157"/>
                </a:cubicBezTo>
                <a:cubicBezTo>
                  <a:pt x="132" y="158"/>
                  <a:pt x="131" y="159"/>
                  <a:pt x="130" y="161"/>
                </a:cubicBezTo>
                <a:cubicBezTo>
                  <a:pt x="130" y="162"/>
                  <a:pt x="129" y="165"/>
                  <a:pt x="129" y="166"/>
                </a:cubicBezTo>
                <a:cubicBezTo>
                  <a:pt x="129" y="169"/>
                  <a:pt x="133" y="173"/>
                  <a:pt x="136" y="173"/>
                </a:cubicBezTo>
                <a:cubicBezTo>
                  <a:pt x="138" y="173"/>
                  <a:pt x="140" y="170"/>
                  <a:pt x="144" y="172"/>
                </a:cubicBezTo>
                <a:cubicBezTo>
                  <a:pt x="145" y="172"/>
                  <a:pt x="146" y="174"/>
                  <a:pt x="147" y="174"/>
                </a:cubicBezTo>
                <a:cubicBezTo>
                  <a:pt x="148" y="174"/>
                  <a:pt x="150" y="172"/>
                  <a:pt x="150" y="171"/>
                </a:cubicBezTo>
                <a:cubicBezTo>
                  <a:pt x="151" y="169"/>
                  <a:pt x="151" y="168"/>
                  <a:pt x="153" y="167"/>
                </a:cubicBezTo>
                <a:cubicBezTo>
                  <a:pt x="154" y="166"/>
                  <a:pt x="156" y="167"/>
                  <a:pt x="158" y="166"/>
                </a:cubicBezTo>
                <a:cubicBezTo>
                  <a:pt x="159" y="166"/>
                  <a:pt x="159" y="165"/>
                  <a:pt x="160" y="164"/>
                </a:cubicBezTo>
                <a:cubicBezTo>
                  <a:pt x="161" y="164"/>
                  <a:pt x="162" y="163"/>
                  <a:pt x="163" y="164"/>
                </a:cubicBezTo>
                <a:cubicBezTo>
                  <a:pt x="164" y="165"/>
                  <a:pt x="161" y="165"/>
                  <a:pt x="162" y="167"/>
                </a:cubicBezTo>
                <a:cubicBezTo>
                  <a:pt x="164" y="168"/>
                  <a:pt x="165" y="165"/>
                  <a:pt x="167" y="165"/>
                </a:cubicBezTo>
                <a:cubicBezTo>
                  <a:pt x="167" y="165"/>
                  <a:pt x="169" y="166"/>
                  <a:pt x="170" y="166"/>
                </a:cubicBezTo>
                <a:cubicBezTo>
                  <a:pt x="171" y="167"/>
                  <a:pt x="171" y="168"/>
                  <a:pt x="173" y="168"/>
                </a:cubicBezTo>
                <a:cubicBezTo>
                  <a:pt x="173" y="168"/>
                  <a:pt x="175" y="168"/>
                  <a:pt x="176" y="168"/>
                </a:cubicBezTo>
                <a:cubicBezTo>
                  <a:pt x="177" y="168"/>
                  <a:pt x="178" y="170"/>
                  <a:pt x="179" y="170"/>
                </a:cubicBezTo>
                <a:cubicBezTo>
                  <a:pt x="181" y="169"/>
                  <a:pt x="182" y="168"/>
                  <a:pt x="183" y="168"/>
                </a:cubicBezTo>
                <a:cubicBezTo>
                  <a:pt x="185" y="167"/>
                  <a:pt x="186" y="168"/>
                  <a:pt x="188" y="170"/>
                </a:cubicBezTo>
                <a:cubicBezTo>
                  <a:pt x="189" y="170"/>
                  <a:pt x="189" y="168"/>
                  <a:pt x="190" y="169"/>
                </a:cubicBezTo>
                <a:cubicBezTo>
                  <a:pt x="189" y="170"/>
                  <a:pt x="190" y="171"/>
                  <a:pt x="191" y="172"/>
                </a:cubicBezTo>
                <a:cubicBezTo>
                  <a:pt x="191" y="172"/>
                  <a:pt x="191" y="173"/>
                  <a:pt x="191" y="173"/>
                </a:cubicBezTo>
                <a:cubicBezTo>
                  <a:pt x="192" y="174"/>
                  <a:pt x="194" y="174"/>
                  <a:pt x="195" y="175"/>
                </a:cubicBezTo>
                <a:cubicBezTo>
                  <a:pt x="196" y="175"/>
                  <a:pt x="196" y="177"/>
                  <a:pt x="198" y="178"/>
                </a:cubicBezTo>
                <a:cubicBezTo>
                  <a:pt x="199" y="179"/>
                  <a:pt x="201" y="181"/>
                  <a:pt x="203" y="181"/>
                </a:cubicBezTo>
                <a:cubicBezTo>
                  <a:pt x="204" y="181"/>
                  <a:pt x="206" y="181"/>
                  <a:pt x="207" y="181"/>
                </a:cubicBezTo>
                <a:cubicBezTo>
                  <a:pt x="210" y="181"/>
                  <a:pt x="212" y="183"/>
                  <a:pt x="214" y="184"/>
                </a:cubicBezTo>
                <a:cubicBezTo>
                  <a:pt x="215" y="185"/>
                  <a:pt x="217" y="186"/>
                  <a:pt x="217" y="187"/>
                </a:cubicBezTo>
                <a:cubicBezTo>
                  <a:pt x="217" y="188"/>
                  <a:pt x="217" y="189"/>
                  <a:pt x="217" y="190"/>
                </a:cubicBezTo>
                <a:cubicBezTo>
                  <a:pt x="218" y="192"/>
                  <a:pt x="221" y="193"/>
                  <a:pt x="220" y="196"/>
                </a:cubicBezTo>
                <a:cubicBezTo>
                  <a:pt x="220" y="197"/>
                  <a:pt x="221" y="197"/>
                  <a:pt x="222" y="198"/>
                </a:cubicBezTo>
                <a:cubicBezTo>
                  <a:pt x="223" y="198"/>
                  <a:pt x="224" y="199"/>
                  <a:pt x="225" y="199"/>
                </a:cubicBezTo>
                <a:cubicBezTo>
                  <a:pt x="225" y="200"/>
                  <a:pt x="226" y="199"/>
                  <a:pt x="227" y="199"/>
                </a:cubicBezTo>
                <a:cubicBezTo>
                  <a:pt x="228" y="199"/>
                  <a:pt x="229" y="200"/>
                  <a:pt x="231" y="201"/>
                </a:cubicBezTo>
                <a:cubicBezTo>
                  <a:pt x="232" y="201"/>
                  <a:pt x="233" y="201"/>
                  <a:pt x="234" y="202"/>
                </a:cubicBezTo>
                <a:cubicBezTo>
                  <a:pt x="234" y="202"/>
                  <a:pt x="235" y="204"/>
                  <a:pt x="235" y="204"/>
                </a:cubicBezTo>
                <a:cubicBezTo>
                  <a:pt x="236" y="205"/>
                  <a:pt x="237" y="204"/>
                  <a:pt x="238" y="204"/>
                </a:cubicBezTo>
                <a:cubicBezTo>
                  <a:pt x="240" y="204"/>
                  <a:pt x="242" y="205"/>
                  <a:pt x="244" y="205"/>
                </a:cubicBezTo>
                <a:cubicBezTo>
                  <a:pt x="245" y="205"/>
                  <a:pt x="245" y="205"/>
                  <a:pt x="246" y="205"/>
                </a:cubicBezTo>
                <a:cubicBezTo>
                  <a:pt x="248" y="205"/>
                  <a:pt x="249" y="206"/>
                  <a:pt x="251" y="208"/>
                </a:cubicBezTo>
                <a:cubicBezTo>
                  <a:pt x="233" y="237"/>
                  <a:pt x="204" y="258"/>
                  <a:pt x="170" y="266"/>
                </a:cubicBezTo>
                <a:cubicBezTo>
                  <a:pt x="170" y="265"/>
                  <a:pt x="169" y="264"/>
                  <a:pt x="169" y="262"/>
                </a:cubicBezTo>
                <a:cubicBezTo>
                  <a:pt x="169" y="260"/>
                  <a:pt x="169" y="258"/>
                  <a:pt x="169" y="255"/>
                </a:cubicBezTo>
                <a:cubicBezTo>
                  <a:pt x="169" y="253"/>
                  <a:pt x="168" y="250"/>
                  <a:pt x="168" y="249"/>
                </a:cubicBezTo>
                <a:cubicBezTo>
                  <a:pt x="167" y="247"/>
                  <a:pt x="164" y="245"/>
                  <a:pt x="162" y="244"/>
                </a:cubicBezTo>
                <a:cubicBezTo>
                  <a:pt x="161" y="244"/>
                  <a:pt x="160" y="243"/>
                  <a:pt x="159" y="243"/>
                </a:cubicBezTo>
                <a:cubicBezTo>
                  <a:pt x="156" y="242"/>
                  <a:pt x="151" y="239"/>
                  <a:pt x="150" y="237"/>
                </a:cubicBezTo>
                <a:cubicBezTo>
                  <a:pt x="150" y="236"/>
                  <a:pt x="150" y="235"/>
                  <a:pt x="150" y="234"/>
                </a:cubicBezTo>
                <a:cubicBezTo>
                  <a:pt x="149" y="233"/>
                  <a:pt x="148" y="231"/>
                  <a:pt x="147" y="230"/>
                </a:cubicBezTo>
                <a:cubicBezTo>
                  <a:pt x="145" y="227"/>
                  <a:pt x="143" y="224"/>
                  <a:pt x="142" y="221"/>
                </a:cubicBezTo>
                <a:cubicBezTo>
                  <a:pt x="141" y="219"/>
                  <a:pt x="140" y="218"/>
                  <a:pt x="139" y="216"/>
                </a:cubicBezTo>
                <a:cubicBezTo>
                  <a:pt x="138" y="216"/>
                  <a:pt x="136" y="215"/>
                  <a:pt x="136" y="214"/>
                </a:cubicBezTo>
                <a:cubicBezTo>
                  <a:pt x="136" y="213"/>
                  <a:pt x="135" y="211"/>
                  <a:pt x="135" y="210"/>
                </a:cubicBezTo>
                <a:cubicBezTo>
                  <a:pt x="135" y="208"/>
                  <a:pt x="138" y="207"/>
                  <a:pt x="138" y="206"/>
                </a:cubicBezTo>
                <a:cubicBezTo>
                  <a:pt x="138" y="205"/>
                  <a:pt x="136" y="204"/>
                  <a:pt x="136" y="203"/>
                </a:cubicBezTo>
                <a:cubicBezTo>
                  <a:pt x="135" y="201"/>
                  <a:pt x="136" y="200"/>
                  <a:pt x="137" y="198"/>
                </a:cubicBezTo>
                <a:cubicBezTo>
                  <a:pt x="138" y="197"/>
                  <a:pt x="138" y="196"/>
                  <a:pt x="138" y="196"/>
                </a:cubicBezTo>
                <a:cubicBezTo>
                  <a:pt x="139" y="195"/>
                  <a:pt x="140" y="195"/>
                  <a:pt x="141" y="194"/>
                </a:cubicBezTo>
                <a:cubicBezTo>
                  <a:pt x="141" y="193"/>
                  <a:pt x="141" y="192"/>
                  <a:pt x="142" y="191"/>
                </a:cubicBezTo>
                <a:cubicBezTo>
                  <a:pt x="143" y="190"/>
                  <a:pt x="145" y="189"/>
                  <a:pt x="145" y="188"/>
                </a:cubicBezTo>
                <a:cubicBezTo>
                  <a:pt x="146" y="187"/>
                  <a:pt x="146" y="181"/>
                  <a:pt x="145" y="180"/>
                </a:cubicBezTo>
                <a:cubicBezTo>
                  <a:pt x="145" y="178"/>
                  <a:pt x="144" y="178"/>
                  <a:pt x="144" y="177"/>
                </a:cubicBezTo>
                <a:cubicBezTo>
                  <a:pt x="143" y="175"/>
                  <a:pt x="143" y="173"/>
                  <a:pt x="141" y="173"/>
                </a:cubicBezTo>
                <a:cubicBezTo>
                  <a:pt x="140" y="173"/>
                  <a:pt x="139" y="174"/>
                  <a:pt x="138" y="175"/>
                </a:cubicBezTo>
                <a:cubicBezTo>
                  <a:pt x="138" y="176"/>
                  <a:pt x="138" y="177"/>
                  <a:pt x="137" y="177"/>
                </a:cubicBezTo>
                <a:cubicBezTo>
                  <a:pt x="135" y="178"/>
                  <a:pt x="135" y="176"/>
                  <a:pt x="133" y="175"/>
                </a:cubicBezTo>
                <a:cubicBezTo>
                  <a:pt x="132" y="175"/>
                  <a:pt x="131" y="175"/>
                  <a:pt x="130" y="175"/>
                </a:cubicBezTo>
                <a:cubicBezTo>
                  <a:pt x="129" y="174"/>
                  <a:pt x="128" y="172"/>
                  <a:pt x="127" y="171"/>
                </a:cubicBezTo>
                <a:cubicBezTo>
                  <a:pt x="126" y="170"/>
                  <a:pt x="124" y="171"/>
                  <a:pt x="124" y="170"/>
                </a:cubicBezTo>
                <a:cubicBezTo>
                  <a:pt x="123" y="169"/>
                  <a:pt x="124" y="168"/>
                  <a:pt x="124" y="167"/>
                </a:cubicBezTo>
                <a:cubicBezTo>
                  <a:pt x="122" y="166"/>
                  <a:pt x="120" y="162"/>
                  <a:pt x="119" y="161"/>
                </a:cubicBezTo>
                <a:cubicBezTo>
                  <a:pt x="117" y="161"/>
                  <a:pt x="115" y="161"/>
                  <a:pt x="114" y="160"/>
                </a:cubicBezTo>
                <a:cubicBezTo>
                  <a:pt x="113" y="160"/>
                  <a:pt x="112" y="160"/>
                  <a:pt x="112" y="159"/>
                </a:cubicBezTo>
                <a:cubicBezTo>
                  <a:pt x="111" y="159"/>
                  <a:pt x="110" y="159"/>
                  <a:pt x="109" y="159"/>
                </a:cubicBezTo>
                <a:cubicBezTo>
                  <a:pt x="106" y="157"/>
                  <a:pt x="104" y="153"/>
                  <a:pt x="101" y="153"/>
                </a:cubicBezTo>
                <a:cubicBezTo>
                  <a:pt x="99" y="153"/>
                  <a:pt x="98" y="154"/>
                  <a:pt x="96" y="154"/>
                </a:cubicBezTo>
                <a:cubicBezTo>
                  <a:pt x="95" y="154"/>
                  <a:pt x="93" y="153"/>
                  <a:pt x="91" y="152"/>
                </a:cubicBezTo>
                <a:cubicBezTo>
                  <a:pt x="89" y="151"/>
                  <a:pt x="87" y="151"/>
                  <a:pt x="85" y="150"/>
                </a:cubicBezTo>
                <a:cubicBezTo>
                  <a:pt x="84" y="150"/>
                  <a:pt x="83" y="148"/>
                  <a:pt x="82" y="148"/>
                </a:cubicBezTo>
                <a:cubicBezTo>
                  <a:pt x="82" y="148"/>
                  <a:pt x="80" y="148"/>
                  <a:pt x="80" y="147"/>
                </a:cubicBezTo>
                <a:cubicBezTo>
                  <a:pt x="79" y="147"/>
                  <a:pt x="78" y="146"/>
                  <a:pt x="77" y="145"/>
                </a:cubicBezTo>
                <a:cubicBezTo>
                  <a:pt x="75" y="144"/>
                  <a:pt x="74" y="143"/>
                  <a:pt x="74" y="142"/>
                </a:cubicBezTo>
                <a:cubicBezTo>
                  <a:pt x="74" y="141"/>
                  <a:pt x="75" y="140"/>
                  <a:pt x="75" y="139"/>
                </a:cubicBezTo>
                <a:cubicBezTo>
                  <a:pt x="76" y="135"/>
                  <a:pt x="73" y="133"/>
                  <a:pt x="71" y="130"/>
                </a:cubicBezTo>
                <a:cubicBezTo>
                  <a:pt x="70" y="129"/>
                  <a:pt x="69" y="128"/>
                  <a:pt x="68" y="126"/>
                </a:cubicBezTo>
                <a:cubicBezTo>
                  <a:pt x="68" y="125"/>
                  <a:pt x="68" y="125"/>
                  <a:pt x="68" y="124"/>
                </a:cubicBezTo>
                <a:cubicBezTo>
                  <a:pt x="67" y="123"/>
                  <a:pt x="66" y="122"/>
                  <a:pt x="65" y="121"/>
                </a:cubicBezTo>
                <a:cubicBezTo>
                  <a:pt x="64" y="119"/>
                  <a:pt x="62" y="118"/>
                  <a:pt x="62" y="117"/>
                </a:cubicBezTo>
                <a:cubicBezTo>
                  <a:pt x="62" y="115"/>
                  <a:pt x="63" y="114"/>
                  <a:pt x="62" y="112"/>
                </a:cubicBezTo>
                <a:cubicBezTo>
                  <a:pt x="61" y="109"/>
                  <a:pt x="57" y="110"/>
                  <a:pt x="58" y="114"/>
                </a:cubicBezTo>
                <a:cubicBezTo>
                  <a:pt x="58" y="115"/>
                  <a:pt x="59" y="116"/>
                  <a:pt x="60" y="117"/>
                </a:cubicBezTo>
                <a:cubicBezTo>
                  <a:pt x="60" y="118"/>
                  <a:pt x="60" y="119"/>
                  <a:pt x="60" y="121"/>
                </a:cubicBezTo>
                <a:cubicBezTo>
                  <a:pt x="61" y="122"/>
                  <a:pt x="62" y="123"/>
                  <a:pt x="62" y="124"/>
                </a:cubicBezTo>
                <a:cubicBezTo>
                  <a:pt x="63" y="126"/>
                  <a:pt x="63" y="128"/>
                  <a:pt x="64" y="130"/>
                </a:cubicBezTo>
                <a:cubicBezTo>
                  <a:pt x="64" y="131"/>
                  <a:pt x="66" y="132"/>
                  <a:pt x="65" y="133"/>
                </a:cubicBezTo>
                <a:cubicBezTo>
                  <a:pt x="63" y="133"/>
                  <a:pt x="63" y="132"/>
                  <a:pt x="62" y="131"/>
                </a:cubicBezTo>
                <a:cubicBezTo>
                  <a:pt x="62" y="131"/>
                  <a:pt x="60" y="130"/>
                  <a:pt x="60" y="129"/>
                </a:cubicBezTo>
                <a:cubicBezTo>
                  <a:pt x="59" y="128"/>
                  <a:pt x="60" y="127"/>
                  <a:pt x="60" y="126"/>
                </a:cubicBezTo>
                <a:cubicBezTo>
                  <a:pt x="59" y="124"/>
                  <a:pt x="55" y="124"/>
                  <a:pt x="55" y="121"/>
                </a:cubicBezTo>
                <a:cubicBezTo>
                  <a:pt x="55" y="120"/>
                  <a:pt x="57" y="120"/>
                  <a:pt x="57" y="119"/>
                </a:cubicBezTo>
                <a:cubicBezTo>
                  <a:pt x="57" y="117"/>
                  <a:pt x="55" y="116"/>
                  <a:pt x="54" y="115"/>
                </a:cubicBezTo>
                <a:cubicBezTo>
                  <a:pt x="54" y="114"/>
                  <a:pt x="54" y="112"/>
                  <a:pt x="54" y="110"/>
                </a:cubicBezTo>
                <a:cubicBezTo>
                  <a:pt x="54" y="109"/>
                  <a:pt x="54" y="107"/>
                  <a:pt x="54" y="106"/>
                </a:cubicBezTo>
                <a:cubicBezTo>
                  <a:pt x="53" y="105"/>
                  <a:pt x="52" y="103"/>
                  <a:pt x="51" y="103"/>
                </a:cubicBezTo>
                <a:cubicBezTo>
                  <a:pt x="49" y="102"/>
                  <a:pt x="48" y="103"/>
                  <a:pt x="48" y="101"/>
                </a:cubicBezTo>
                <a:cubicBezTo>
                  <a:pt x="47" y="101"/>
                  <a:pt x="47" y="99"/>
                  <a:pt x="47" y="98"/>
                </a:cubicBezTo>
                <a:cubicBezTo>
                  <a:pt x="46" y="96"/>
                  <a:pt x="47" y="94"/>
                  <a:pt x="47" y="92"/>
                </a:cubicBezTo>
                <a:cubicBezTo>
                  <a:pt x="46" y="90"/>
                  <a:pt x="46" y="88"/>
                  <a:pt x="47" y="86"/>
                </a:cubicBezTo>
                <a:cubicBezTo>
                  <a:pt x="47" y="85"/>
                  <a:pt x="49" y="84"/>
                  <a:pt x="49" y="83"/>
                </a:cubicBezTo>
                <a:cubicBezTo>
                  <a:pt x="50" y="82"/>
                  <a:pt x="50" y="80"/>
                  <a:pt x="51" y="79"/>
                </a:cubicBezTo>
                <a:cubicBezTo>
                  <a:pt x="52" y="77"/>
                  <a:pt x="54" y="76"/>
                  <a:pt x="56" y="74"/>
                </a:cubicBezTo>
                <a:cubicBezTo>
                  <a:pt x="57" y="72"/>
                  <a:pt x="59" y="70"/>
                  <a:pt x="60" y="67"/>
                </a:cubicBezTo>
                <a:cubicBezTo>
                  <a:pt x="60" y="66"/>
                  <a:pt x="61" y="64"/>
                  <a:pt x="61" y="63"/>
                </a:cubicBezTo>
                <a:cubicBezTo>
                  <a:pt x="61" y="62"/>
                  <a:pt x="58" y="61"/>
                  <a:pt x="58" y="59"/>
                </a:cubicBezTo>
                <a:cubicBezTo>
                  <a:pt x="59" y="58"/>
                  <a:pt x="60" y="58"/>
                  <a:pt x="61" y="57"/>
                </a:cubicBezTo>
                <a:cubicBezTo>
                  <a:pt x="61" y="57"/>
                  <a:pt x="61" y="55"/>
                  <a:pt x="61" y="54"/>
                </a:cubicBezTo>
                <a:cubicBezTo>
                  <a:pt x="61" y="53"/>
                  <a:pt x="60" y="51"/>
                  <a:pt x="61" y="50"/>
                </a:cubicBezTo>
                <a:cubicBezTo>
                  <a:pt x="61" y="49"/>
                  <a:pt x="63" y="48"/>
                  <a:pt x="62" y="47"/>
                </a:cubicBezTo>
                <a:cubicBezTo>
                  <a:pt x="61" y="45"/>
                  <a:pt x="59" y="47"/>
                  <a:pt x="58" y="46"/>
                </a:cubicBezTo>
                <a:cubicBezTo>
                  <a:pt x="57" y="46"/>
                  <a:pt x="58" y="45"/>
                  <a:pt x="58" y="43"/>
                </a:cubicBezTo>
                <a:cubicBezTo>
                  <a:pt x="58" y="42"/>
                  <a:pt x="58" y="42"/>
                  <a:pt x="58" y="41"/>
                </a:cubicBezTo>
                <a:cubicBezTo>
                  <a:pt x="58" y="41"/>
                  <a:pt x="59" y="39"/>
                  <a:pt x="59" y="39"/>
                </a:cubicBezTo>
                <a:cubicBezTo>
                  <a:pt x="58" y="38"/>
                  <a:pt x="58" y="37"/>
                  <a:pt x="57" y="36"/>
                </a:cubicBezTo>
                <a:cubicBezTo>
                  <a:pt x="74" y="23"/>
                  <a:pt x="94" y="13"/>
                  <a:pt x="115" y="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19" name="Group 23">
            <a:extLst>
              <a:ext uri="{FF2B5EF4-FFF2-40B4-BE49-F238E27FC236}">
                <a16:creationId xmlns:a16="http://schemas.microsoft.com/office/drawing/2014/main" id="{F418E12E-C38A-47B7-8C52-308896084EB3}"/>
              </a:ext>
            </a:extLst>
          </p:cNvPr>
          <p:cNvGrpSpPr/>
          <p:nvPr/>
        </p:nvGrpSpPr>
        <p:grpSpPr>
          <a:xfrm>
            <a:off x="7056112" y="1700070"/>
            <a:ext cx="511176" cy="450850"/>
            <a:chOff x="6821487" y="5402729"/>
            <a:chExt cx="511176" cy="450850"/>
          </a:xfrm>
          <a:solidFill>
            <a:schemeClr val="bg1"/>
          </a:solidFill>
        </p:grpSpPr>
        <p:sp>
          <p:nvSpPr>
            <p:cNvPr id="20" name="Freeform 79">
              <a:extLst>
                <a:ext uri="{FF2B5EF4-FFF2-40B4-BE49-F238E27FC236}">
                  <a16:creationId xmlns:a16="http://schemas.microsoft.com/office/drawing/2014/main" id="{70DD74E9-3BCE-43A0-8F31-8D4B103FA4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77050" y="5402729"/>
              <a:ext cx="455613" cy="354013"/>
            </a:xfrm>
            <a:custGeom>
              <a:avLst/>
              <a:gdLst>
                <a:gd name="T0" fmla="*/ 208 w 208"/>
                <a:gd name="T1" fmla="*/ 94 h 161"/>
                <a:gd name="T2" fmla="*/ 208 w 208"/>
                <a:gd name="T3" fmla="*/ 27 h 161"/>
                <a:gd name="T4" fmla="*/ 143 w 208"/>
                <a:gd name="T5" fmla="*/ 0 h 161"/>
                <a:gd name="T6" fmla="*/ 143 w 208"/>
                <a:gd name="T7" fmla="*/ 0 h 161"/>
                <a:gd name="T8" fmla="*/ 0 w 208"/>
                <a:gd name="T9" fmla="*/ 0 h 161"/>
                <a:gd name="T10" fmla="*/ 0 w 208"/>
                <a:gd name="T11" fmla="*/ 161 h 161"/>
                <a:gd name="T12" fmla="*/ 163 w 208"/>
                <a:gd name="T13" fmla="*/ 161 h 161"/>
                <a:gd name="T14" fmla="*/ 163 w 208"/>
                <a:gd name="T15" fmla="*/ 120 h 161"/>
                <a:gd name="T16" fmla="*/ 208 w 208"/>
                <a:gd name="T17" fmla="*/ 94 h 161"/>
                <a:gd name="T18" fmla="*/ 189 w 208"/>
                <a:gd name="T19" fmla="*/ 91 h 161"/>
                <a:gd name="T20" fmla="*/ 163 w 208"/>
                <a:gd name="T21" fmla="*/ 99 h 161"/>
                <a:gd name="T22" fmla="*/ 163 w 208"/>
                <a:gd name="T23" fmla="*/ 22 h 161"/>
                <a:gd name="T24" fmla="*/ 189 w 208"/>
                <a:gd name="T25" fmla="*/ 30 h 161"/>
                <a:gd name="T26" fmla="*/ 189 w 208"/>
                <a:gd name="T27" fmla="*/ 9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8" h="161">
                  <a:moveTo>
                    <a:pt x="208" y="94"/>
                  </a:moveTo>
                  <a:cubicBezTo>
                    <a:pt x="208" y="27"/>
                    <a:pt x="208" y="27"/>
                    <a:pt x="208" y="27"/>
                  </a:cubicBezTo>
                  <a:cubicBezTo>
                    <a:pt x="208" y="12"/>
                    <a:pt x="179" y="0"/>
                    <a:pt x="143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163" y="161"/>
                    <a:pt x="163" y="161"/>
                    <a:pt x="163" y="161"/>
                  </a:cubicBezTo>
                  <a:cubicBezTo>
                    <a:pt x="163" y="120"/>
                    <a:pt x="163" y="120"/>
                    <a:pt x="163" y="120"/>
                  </a:cubicBezTo>
                  <a:cubicBezTo>
                    <a:pt x="189" y="116"/>
                    <a:pt x="208" y="106"/>
                    <a:pt x="208" y="94"/>
                  </a:cubicBezTo>
                  <a:close/>
                  <a:moveTo>
                    <a:pt x="189" y="91"/>
                  </a:moveTo>
                  <a:cubicBezTo>
                    <a:pt x="185" y="94"/>
                    <a:pt x="176" y="97"/>
                    <a:pt x="163" y="99"/>
                  </a:cubicBezTo>
                  <a:cubicBezTo>
                    <a:pt x="163" y="22"/>
                    <a:pt x="163" y="22"/>
                    <a:pt x="163" y="22"/>
                  </a:cubicBezTo>
                  <a:cubicBezTo>
                    <a:pt x="176" y="24"/>
                    <a:pt x="185" y="28"/>
                    <a:pt x="189" y="30"/>
                  </a:cubicBezTo>
                  <a:cubicBezTo>
                    <a:pt x="189" y="91"/>
                    <a:pt x="189" y="91"/>
                    <a:pt x="189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1" name="Freeform 80">
              <a:extLst>
                <a:ext uri="{FF2B5EF4-FFF2-40B4-BE49-F238E27FC236}">
                  <a16:creationId xmlns:a16="http://schemas.microsoft.com/office/drawing/2014/main" id="{66857FB7-6733-4FF4-B365-8259F92B1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1487" y="5780554"/>
              <a:ext cx="468313" cy="73025"/>
            </a:xfrm>
            <a:custGeom>
              <a:avLst/>
              <a:gdLst>
                <a:gd name="T0" fmla="*/ 295 w 295"/>
                <a:gd name="T1" fmla="*/ 0 h 46"/>
                <a:gd name="T2" fmla="*/ 0 w 295"/>
                <a:gd name="T3" fmla="*/ 0 h 46"/>
                <a:gd name="T4" fmla="*/ 0 w 295"/>
                <a:gd name="T5" fmla="*/ 24 h 46"/>
                <a:gd name="T6" fmla="*/ 35 w 295"/>
                <a:gd name="T7" fmla="*/ 24 h 46"/>
                <a:gd name="T8" fmla="*/ 35 w 295"/>
                <a:gd name="T9" fmla="*/ 46 h 46"/>
                <a:gd name="T10" fmla="*/ 260 w 295"/>
                <a:gd name="T11" fmla="*/ 46 h 46"/>
                <a:gd name="T12" fmla="*/ 260 w 295"/>
                <a:gd name="T13" fmla="*/ 24 h 46"/>
                <a:gd name="T14" fmla="*/ 295 w 295"/>
                <a:gd name="T15" fmla="*/ 24 h 46"/>
                <a:gd name="T16" fmla="*/ 295 w 295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5" h="46">
                  <a:moveTo>
                    <a:pt x="295" y="0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35" y="24"/>
                  </a:lnTo>
                  <a:lnTo>
                    <a:pt x="35" y="46"/>
                  </a:lnTo>
                  <a:lnTo>
                    <a:pt x="260" y="46"/>
                  </a:lnTo>
                  <a:lnTo>
                    <a:pt x="260" y="24"/>
                  </a:lnTo>
                  <a:lnTo>
                    <a:pt x="295" y="24"/>
                  </a:lnTo>
                  <a:lnTo>
                    <a:pt x="2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</p:grpSp>
      <p:sp>
        <p:nvSpPr>
          <p:cNvPr id="22" name="Freeform 65">
            <a:extLst>
              <a:ext uri="{FF2B5EF4-FFF2-40B4-BE49-F238E27FC236}">
                <a16:creationId xmlns:a16="http://schemas.microsoft.com/office/drawing/2014/main" id="{F921353F-98C6-405E-B2F6-680398FA0E72}"/>
              </a:ext>
            </a:extLst>
          </p:cNvPr>
          <p:cNvSpPr>
            <a:spLocks noEditPoints="1"/>
          </p:cNvSpPr>
          <p:nvPr/>
        </p:nvSpPr>
        <p:spPr bwMode="auto">
          <a:xfrm>
            <a:off x="4791074" y="3713956"/>
            <a:ext cx="546100" cy="290513"/>
          </a:xfrm>
          <a:custGeom>
            <a:avLst/>
            <a:gdLst>
              <a:gd name="T0" fmla="*/ 546100 w 344"/>
              <a:gd name="T1" fmla="*/ 290513 h 183"/>
              <a:gd name="T2" fmla="*/ 546100 w 344"/>
              <a:gd name="T3" fmla="*/ 285750 h 183"/>
              <a:gd name="T4" fmla="*/ 546100 w 344"/>
              <a:gd name="T5" fmla="*/ 3175 h 183"/>
              <a:gd name="T6" fmla="*/ 546100 w 344"/>
              <a:gd name="T7" fmla="*/ 0 h 183"/>
              <a:gd name="T8" fmla="*/ 541338 w 344"/>
              <a:gd name="T9" fmla="*/ 0 h 183"/>
              <a:gd name="T10" fmla="*/ 57150 w 344"/>
              <a:gd name="T11" fmla="*/ 0 h 183"/>
              <a:gd name="T12" fmla="*/ 52388 w 344"/>
              <a:gd name="T13" fmla="*/ 0 h 183"/>
              <a:gd name="T14" fmla="*/ 52388 w 344"/>
              <a:gd name="T15" fmla="*/ 3175 h 183"/>
              <a:gd name="T16" fmla="*/ 52388 w 344"/>
              <a:gd name="T17" fmla="*/ 69850 h 183"/>
              <a:gd name="T18" fmla="*/ 4763 w 344"/>
              <a:gd name="T19" fmla="*/ 69850 h 183"/>
              <a:gd name="T20" fmla="*/ 0 w 344"/>
              <a:gd name="T21" fmla="*/ 69850 h 183"/>
              <a:gd name="T22" fmla="*/ 0 w 344"/>
              <a:gd name="T23" fmla="*/ 74613 h 183"/>
              <a:gd name="T24" fmla="*/ 0 w 344"/>
              <a:gd name="T25" fmla="*/ 215900 h 183"/>
              <a:gd name="T26" fmla="*/ 0 w 344"/>
              <a:gd name="T27" fmla="*/ 219075 h 183"/>
              <a:gd name="T28" fmla="*/ 4763 w 344"/>
              <a:gd name="T29" fmla="*/ 219075 h 183"/>
              <a:gd name="T30" fmla="*/ 52388 w 344"/>
              <a:gd name="T31" fmla="*/ 219075 h 183"/>
              <a:gd name="T32" fmla="*/ 52388 w 344"/>
              <a:gd name="T33" fmla="*/ 285750 h 183"/>
              <a:gd name="T34" fmla="*/ 52388 w 344"/>
              <a:gd name="T35" fmla="*/ 290513 h 183"/>
              <a:gd name="T36" fmla="*/ 57150 w 344"/>
              <a:gd name="T37" fmla="*/ 290513 h 183"/>
              <a:gd name="T38" fmla="*/ 541338 w 344"/>
              <a:gd name="T39" fmla="*/ 290513 h 183"/>
              <a:gd name="T40" fmla="*/ 546100 w 344"/>
              <a:gd name="T41" fmla="*/ 290513 h 183"/>
              <a:gd name="T42" fmla="*/ 546100 w 344"/>
              <a:gd name="T43" fmla="*/ 290513 h 183"/>
              <a:gd name="T44" fmla="*/ 517525 w 344"/>
              <a:gd name="T45" fmla="*/ 26988 h 183"/>
              <a:gd name="T46" fmla="*/ 517525 w 344"/>
              <a:gd name="T47" fmla="*/ 261938 h 183"/>
              <a:gd name="T48" fmla="*/ 430213 w 344"/>
              <a:gd name="T49" fmla="*/ 261938 h 183"/>
              <a:gd name="T50" fmla="*/ 430213 w 344"/>
              <a:gd name="T51" fmla="*/ 26988 h 183"/>
              <a:gd name="T52" fmla="*/ 517525 w 344"/>
              <a:gd name="T53" fmla="*/ 26988 h 183"/>
              <a:gd name="T54" fmla="*/ 401638 w 344"/>
              <a:gd name="T55" fmla="*/ 26988 h 183"/>
              <a:gd name="T56" fmla="*/ 401638 w 344"/>
              <a:gd name="T57" fmla="*/ 261938 h 183"/>
              <a:gd name="T58" fmla="*/ 315913 w 344"/>
              <a:gd name="T59" fmla="*/ 261938 h 183"/>
              <a:gd name="T60" fmla="*/ 315913 w 344"/>
              <a:gd name="T61" fmla="*/ 26988 h 183"/>
              <a:gd name="T62" fmla="*/ 401638 w 344"/>
              <a:gd name="T63" fmla="*/ 26988 h 183"/>
              <a:gd name="T64" fmla="*/ 287338 w 344"/>
              <a:gd name="T65" fmla="*/ 26988 h 183"/>
              <a:gd name="T66" fmla="*/ 287338 w 344"/>
              <a:gd name="T67" fmla="*/ 261938 h 183"/>
              <a:gd name="T68" fmla="*/ 200025 w 344"/>
              <a:gd name="T69" fmla="*/ 261938 h 183"/>
              <a:gd name="T70" fmla="*/ 200025 w 344"/>
              <a:gd name="T71" fmla="*/ 26988 h 183"/>
              <a:gd name="T72" fmla="*/ 287338 w 344"/>
              <a:gd name="T73" fmla="*/ 26988 h 183"/>
              <a:gd name="T74" fmla="*/ 171450 w 344"/>
              <a:gd name="T75" fmla="*/ 26988 h 183"/>
              <a:gd name="T76" fmla="*/ 171450 w 344"/>
              <a:gd name="T77" fmla="*/ 261938 h 183"/>
              <a:gd name="T78" fmla="*/ 85725 w 344"/>
              <a:gd name="T79" fmla="*/ 261938 h 183"/>
              <a:gd name="T80" fmla="*/ 85725 w 344"/>
              <a:gd name="T81" fmla="*/ 26988 h 183"/>
              <a:gd name="T82" fmla="*/ 171450 w 344"/>
              <a:gd name="T83" fmla="*/ 26988 h 18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344" h="183">
                <a:moveTo>
                  <a:pt x="344" y="183"/>
                </a:moveTo>
                <a:lnTo>
                  <a:pt x="344" y="180"/>
                </a:lnTo>
                <a:lnTo>
                  <a:pt x="344" y="2"/>
                </a:lnTo>
                <a:lnTo>
                  <a:pt x="344" y="0"/>
                </a:lnTo>
                <a:lnTo>
                  <a:pt x="341" y="0"/>
                </a:lnTo>
                <a:lnTo>
                  <a:pt x="36" y="0"/>
                </a:lnTo>
                <a:lnTo>
                  <a:pt x="33" y="0"/>
                </a:lnTo>
                <a:lnTo>
                  <a:pt x="33" y="2"/>
                </a:lnTo>
                <a:lnTo>
                  <a:pt x="33" y="44"/>
                </a:lnTo>
                <a:lnTo>
                  <a:pt x="3" y="44"/>
                </a:lnTo>
                <a:lnTo>
                  <a:pt x="0" y="44"/>
                </a:lnTo>
                <a:lnTo>
                  <a:pt x="0" y="47"/>
                </a:lnTo>
                <a:lnTo>
                  <a:pt x="0" y="136"/>
                </a:lnTo>
                <a:lnTo>
                  <a:pt x="0" y="138"/>
                </a:lnTo>
                <a:lnTo>
                  <a:pt x="3" y="138"/>
                </a:lnTo>
                <a:lnTo>
                  <a:pt x="33" y="138"/>
                </a:lnTo>
                <a:lnTo>
                  <a:pt x="33" y="180"/>
                </a:lnTo>
                <a:lnTo>
                  <a:pt x="33" y="183"/>
                </a:lnTo>
                <a:lnTo>
                  <a:pt x="36" y="183"/>
                </a:lnTo>
                <a:lnTo>
                  <a:pt x="341" y="183"/>
                </a:lnTo>
                <a:lnTo>
                  <a:pt x="344" y="183"/>
                </a:lnTo>
                <a:close/>
                <a:moveTo>
                  <a:pt x="326" y="17"/>
                </a:moveTo>
                <a:lnTo>
                  <a:pt x="326" y="165"/>
                </a:lnTo>
                <a:lnTo>
                  <a:pt x="271" y="165"/>
                </a:lnTo>
                <a:lnTo>
                  <a:pt x="271" y="17"/>
                </a:lnTo>
                <a:lnTo>
                  <a:pt x="326" y="17"/>
                </a:lnTo>
                <a:close/>
                <a:moveTo>
                  <a:pt x="253" y="17"/>
                </a:moveTo>
                <a:lnTo>
                  <a:pt x="253" y="165"/>
                </a:lnTo>
                <a:lnTo>
                  <a:pt x="199" y="165"/>
                </a:lnTo>
                <a:lnTo>
                  <a:pt x="199" y="17"/>
                </a:lnTo>
                <a:lnTo>
                  <a:pt x="253" y="17"/>
                </a:lnTo>
                <a:close/>
                <a:moveTo>
                  <a:pt x="181" y="17"/>
                </a:moveTo>
                <a:lnTo>
                  <a:pt x="181" y="165"/>
                </a:lnTo>
                <a:lnTo>
                  <a:pt x="126" y="165"/>
                </a:lnTo>
                <a:lnTo>
                  <a:pt x="126" y="17"/>
                </a:lnTo>
                <a:lnTo>
                  <a:pt x="181" y="17"/>
                </a:lnTo>
                <a:close/>
                <a:moveTo>
                  <a:pt x="108" y="17"/>
                </a:moveTo>
                <a:lnTo>
                  <a:pt x="108" y="165"/>
                </a:lnTo>
                <a:lnTo>
                  <a:pt x="54" y="165"/>
                </a:lnTo>
                <a:lnTo>
                  <a:pt x="54" y="17"/>
                </a:lnTo>
                <a:lnTo>
                  <a:pt x="108" y="1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23" name="Group 27">
            <a:extLst>
              <a:ext uri="{FF2B5EF4-FFF2-40B4-BE49-F238E27FC236}">
                <a16:creationId xmlns:a16="http://schemas.microsoft.com/office/drawing/2014/main" id="{2C94CDD7-F210-4447-9E83-F241F9E8DB1F}"/>
              </a:ext>
            </a:extLst>
          </p:cNvPr>
          <p:cNvGrpSpPr/>
          <p:nvPr/>
        </p:nvGrpSpPr>
        <p:grpSpPr>
          <a:xfrm>
            <a:off x="7041723" y="3953471"/>
            <a:ext cx="434975" cy="488951"/>
            <a:chOff x="3113089" y="2198688"/>
            <a:chExt cx="434975" cy="488951"/>
          </a:xfrm>
          <a:solidFill>
            <a:schemeClr val="bg1"/>
          </a:solidFill>
        </p:grpSpPr>
        <p:sp>
          <p:nvSpPr>
            <p:cNvPr id="24" name="Rectangle 28">
              <a:extLst>
                <a:ext uri="{FF2B5EF4-FFF2-40B4-BE49-F238E27FC236}">
                  <a16:creationId xmlns:a16="http://schemas.microsoft.com/office/drawing/2014/main" id="{8454D651-4DAA-4ED2-96AE-1C06B4D9CD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5989" y="2198688"/>
              <a:ext cx="65088" cy="146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5" name="Rectangle 29">
              <a:extLst>
                <a:ext uri="{FF2B5EF4-FFF2-40B4-BE49-F238E27FC236}">
                  <a16:creationId xmlns:a16="http://schemas.microsoft.com/office/drawing/2014/main" id="{D63B56D6-D2EE-4529-8334-1E1A81D55D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5989" y="2425701"/>
              <a:ext cx="65088" cy="261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6" name="Rectangle 30">
              <a:extLst>
                <a:ext uri="{FF2B5EF4-FFF2-40B4-BE49-F238E27FC236}">
                  <a16:creationId xmlns:a16="http://schemas.microsoft.com/office/drawing/2014/main" id="{1B34FE6E-B733-4247-B677-2D5F5015D3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7239" y="2198688"/>
              <a:ext cx="66675" cy="271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7" name="Rectangle 31">
              <a:extLst>
                <a:ext uri="{FF2B5EF4-FFF2-40B4-BE49-F238E27FC236}">
                  <a16:creationId xmlns:a16="http://schemas.microsoft.com/office/drawing/2014/main" id="{3EE8E269-348B-46FD-A715-AA4FE3C771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7239" y="2549526"/>
              <a:ext cx="66675" cy="138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8" name="Rectangle 32">
              <a:extLst>
                <a:ext uri="{FF2B5EF4-FFF2-40B4-BE49-F238E27FC236}">
                  <a16:creationId xmlns:a16="http://schemas.microsoft.com/office/drawing/2014/main" id="{C9BF6A94-6192-4D65-8CD3-5E7A4FB848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1664" y="2198688"/>
              <a:ext cx="63500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9" name="Rectangle 33">
              <a:extLst>
                <a:ext uri="{FF2B5EF4-FFF2-40B4-BE49-F238E27FC236}">
                  <a16:creationId xmlns:a16="http://schemas.microsoft.com/office/drawing/2014/main" id="{1D5C1A06-2470-4866-AC49-2404A8798C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1664" y="2322513"/>
              <a:ext cx="63500" cy="3651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0" name="Freeform 34">
              <a:extLst>
                <a:ext uri="{FF2B5EF4-FFF2-40B4-BE49-F238E27FC236}">
                  <a16:creationId xmlns:a16="http://schemas.microsoft.com/office/drawing/2014/main" id="{E78D0F93-0B6D-4432-9A22-96970DD2C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3089" y="2257426"/>
              <a:ext cx="120650" cy="50800"/>
            </a:xfrm>
            <a:custGeom>
              <a:avLst/>
              <a:gdLst>
                <a:gd name="T0" fmla="*/ 0 w 76"/>
                <a:gd name="T1" fmla="*/ 0 h 32"/>
                <a:gd name="T2" fmla="*/ 0 w 76"/>
                <a:gd name="T3" fmla="*/ 32 h 32"/>
                <a:gd name="T4" fmla="*/ 18 w 76"/>
                <a:gd name="T5" fmla="*/ 32 h 32"/>
                <a:gd name="T6" fmla="*/ 58 w 76"/>
                <a:gd name="T7" fmla="*/ 32 h 32"/>
                <a:gd name="T8" fmla="*/ 76 w 76"/>
                <a:gd name="T9" fmla="*/ 32 h 32"/>
                <a:gd name="T10" fmla="*/ 76 w 76"/>
                <a:gd name="T11" fmla="*/ 0 h 32"/>
                <a:gd name="T12" fmla="*/ 58 w 76"/>
                <a:gd name="T13" fmla="*/ 0 h 32"/>
                <a:gd name="T14" fmla="*/ 18 w 76"/>
                <a:gd name="T15" fmla="*/ 0 h 32"/>
                <a:gd name="T16" fmla="*/ 0 w 76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32">
                  <a:moveTo>
                    <a:pt x="0" y="0"/>
                  </a:moveTo>
                  <a:lnTo>
                    <a:pt x="0" y="32"/>
                  </a:lnTo>
                  <a:lnTo>
                    <a:pt x="18" y="32"/>
                  </a:lnTo>
                  <a:lnTo>
                    <a:pt x="58" y="32"/>
                  </a:lnTo>
                  <a:lnTo>
                    <a:pt x="76" y="32"/>
                  </a:lnTo>
                  <a:lnTo>
                    <a:pt x="76" y="0"/>
                  </a:lnTo>
                  <a:lnTo>
                    <a:pt x="58" y="0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1" name="Freeform 35">
              <a:extLst>
                <a:ext uri="{FF2B5EF4-FFF2-40B4-BE49-F238E27FC236}">
                  <a16:creationId xmlns:a16="http://schemas.microsoft.com/office/drawing/2014/main" id="{C94AB918-89A2-48FF-832C-84B3FC03A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2484438"/>
              <a:ext cx="120650" cy="53975"/>
            </a:xfrm>
            <a:custGeom>
              <a:avLst/>
              <a:gdLst>
                <a:gd name="T0" fmla="*/ 0 w 76"/>
                <a:gd name="T1" fmla="*/ 0 h 34"/>
                <a:gd name="T2" fmla="*/ 0 w 76"/>
                <a:gd name="T3" fmla="*/ 34 h 34"/>
                <a:gd name="T4" fmla="*/ 17 w 76"/>
                <a:gd name="T5" fmla="*/ 34 h 34"/>
                <a:gd name="T6" fmla="*/ 59 w 76"/>
                <a:gd name="T7" fmla="*/ 34 h 34"/>
                <a:gd name="T8" fmla="*/ 76 w 76"/>
                <a:gd name="T9" fmla="*/ 34 h 34"/>
                <a:gd name="T10" fmla="*/ 76 w 76"/>
                <a:gd name="T11" fmla="*/ 0 h 34"/>
                <a:gd name="T12" fmla="*/ 59 w 76"/>
                <a:gd name="T13" fmla="*/ 0 h 34"/>
                <a:gd name="T14" fmla="*/ 17 w 76"/>
                <a:gd name="T15" fmla="*/ 0 h 34"/>
                <a:gd name="T16" fmla="*/ 0 w 76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34">
                  <a:moveTo>
                    <a:pt x="0" y="0"/>
                  </a:moveTo>
                  <a:lnTo>
                    <a:pt x="0" y="34"/>
                  </a:lnTo>
                  <a:lnTo>
                    <a:pt x="17" y="34"/>
                  </a:lnTo>
                  <a:lnTo>
                    <a:pt x="59" y="34"/>
                  </a:lnTo>
                  <a:lnTo>
                    <a:pt x="76" y="34"/>
                  </a:lnTo>
                  <a:lnTo>
                    <a:pt x="76" y="0"/>
                  </a:lnTo>
                  <a:lnTo>
                    <a:pt x="59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2" name="Freeform 36">
              <a:extLst>
                <a:ext uri="{FF2B5EF4-FFF2-40B4-BE49-F238E27FC236}">
                  <a16:creationId xmlns:a16="http://schemas.microsoft.com/office/drawing/2014/main" id="{5370C6EB-5AD9-49D3-9DDA-BEBBE3734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7414" y="2359026"/>
              <a:ext cx="120650" cy="52388"/>
            </a:xfrm>
            <a:custGeom>
              <a:avLst/>
              <a:gdLst>
                <a:gd name="T0" fmla="*/ 18 w 76"/>
                <a:gd name="T1" fmla="*/ 0 h 33"/>
                <a:gd name="T2" fmla="*/ 0 w 76"/>
                <a:gd name="T3" fmla="*/ 0 h 33"/>
                <a:gd name="T4" fmla="*/ 0 w 76"/>
                <a:gd name="T5" fmla="*/ 33 h 33"/>
                <a:gd name="T6" fmla="*/ 18 w 76"/>
                <a:gd name="T7" fmla="*/ 33 h 33"/>
                <a:gd name="T8" fmla="*/ 59 w 76"/>
                <a:gd name="T9" fmla="*/ 33 h 33"/>
                <a:gd name="T10" fmla="*/ 76 w 76"/>
                <a:gd name="T11" fmla="*/ 33 h 33"/>
                <a:gd name="T12" fmla="*/ 76 w 76"/>
                <a:gd name="T13" fmla="*/ 0 h 33"/>
                <a:gd name="T14" fmla="*/ 59 w 76"/>
                <a:gd name="T15" fmla="*/ 0 h 33"/>
                <a:gd name="T16" fmla="*/ 18 w 76"/>
                <a:gd name="T1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33">
                  <a:moveTo>
                    <a:pt x="18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18" y="33"/>
                  </a:lnTo>
                  <a:lnTo>
                    <a:pt x="59" y="33"/>
                  </a:lnTo>
                  <a:lnTo>
                    <a:pt x="76" y="33"/>
                  </a:lnTo>
                  <a:lnTo>
                    <a:pt x="76" y="0"/>
                  </a:lnTo>
                  <a:lnTo>
                    <a:pt x="59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</p:grpSp>
      <p:sp>
        <p:nvSpPr>
          <p:cNvPr id="33" name="Rectangle 1436">
            <a:extLst>
              <a:ext uri="{FF2B5EF4-FFF2-40B4-BE49-F238E27FC236}">
                <a16:creationId xmlns:a16="http://schemas.microsoft.com/office/drawing/2014/main" id="{AA20A8BD-E7E0-4091-AE15-266BC2CB3F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3874" y="4542631"/>
            <a:ext cx="7715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id-ID" altLang="zh-CN" sz="1600" b="1">
                <a:solidFill>
                  <a:schemeClr val="bg1"/>
                </a:solidFill>
                <a:cs typeface="Arial" panose="020B0604020202020204" pitchFamily="34" charset="0"/>
              </a:rPr>
              <a:t>Equalizer</a:t>
            </a:r>
            <a:endParaRPr lang="en-US" altLang="zh-CN" sz="16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4" name="Rectangle 1436">
            <a:extLst>
              <a:ext uri="{FF2B5EF4-FFF2-40B4-BE49-F238E27FC236}">
                <a16:creationId xmlns:a16="http://schemas.microsoft.com/office/drawing/2014/main" id="{4917BEB7-6314-494D-91B8-6F3B1E972B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7087" y="2321719"/>
            <a:ext cx="1122362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id-ID" altLang="zh-CN" sz="1600" b="1">
                <a:solidFill>
                  <a:schemeClr val="bg1"/>
                </a:solidFill>
                <a:cs typeface="Arial" panose="020B0604020202020204" pitchFamily="34" charset="0"/>
              </a:rPr>
              <a:t>Globalization</a:t>
            </a:r>
            <a:endParaRPr lang="en-US" altLang="zh-CN" sz="16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5" name="Rectangle 1436">
            <a:extLst>
              <a:ext uri="{FF2B5EF4-FFF2-40B4-BE49-F238E27FC236}">
                <a16:creationId xmlns:a16="http://schemas.microsoft.com/office/drawing/2014/main" id="{F9A155EE-D32D-4187-8A0C-E7EDCF65D7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7237" y="4158456"/>
            <a:ext cx="747712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id-ID" altLang="zh-CN" sz="1600" b="1">
                <a:solidFill>
                  <a:schemeClr val="bg1"/>
                </a:solidFill>
                <a:cs typeface="Arial" panose="020B0604020202020204" pitchFamily="34" charset="0"/>
              </a:rPr>
              <a:t>Charging</a:t>
            </a:r>
            <a:endParaRPr lang="en-US" altLang="zh-CN" sz="16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6" name="Rectangle 1436">
            <a:extLst>
              <a:ext uri="{FF2B5EF4-FFF2-40B4-BE49-F238E27FC236}">
                <a16:creationId xmlns:a16="http://schemas.microsoft.com/office/drawing/2014/main" id="{DBB5D153-E285-45EC-89D4-885C1D0B6F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6874" y="2378869"/>
            <a:ext cx="108743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id-ID" altLang="zh-CN" sz="1600" b="1">
                <a:solidFill>
                  <a:schemeClr val="bg1"/>
                </a:solidFill>
                <a:cs typeface="Arial" panose="020B0604020202020204" pitchFamily="34" charset="0"/>
              </a:rPr>
              <a:t>Coffee Break</a:t>
            </a:r>
            <a:endParaRPr lang="en-US" altLang="zh-CN" sz="16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37" name="Group 41">
            <a:extLst>
              <a:ext uri="{FF2B5EF4-FFF2-40B4-BE49-F238E27FC236}">
                <a16:creationId xmlns:a16="http://schemas.microsoft.com/office/drawing/2014/main" id="{D01C518A-A36C-4A19-BDDD-D31900EC1D98}"/>
              </a:ext>
            </a:extLst>
          </p:cNvPr>
          <p:cNvGrpSpPr>
            <a:grpSpLocks/>
          </p:cNvGrpSpPr>
          <p:nvPr/>
        </p:nvGrpSpPr>
        <p:grpSpPr bwMode="auto">
          <a:xfrm>
            <a:off x="8786812" y="1727994"/>
            <a:ext cx="2660650" cy="3781425"/>
            <a:chOff x="8375770" y="2401463"/>
            <a:chExt cx="2659477" cy="3780430"/>
          </a:xfrm>
        </p:grpSpPr>
        <p:sp>
          <p:nvSpPr>
            <p:cNvPr id="38" name="Freeform 42">
              <a:extLst>
                <a:ext uri="{FF2B5EF4-FFF2-40B4-BE49-F238E27FC236}">
                  <a16:creationId xmlns:a16="http://schemas.microsoft.com/office/drawing/2014/main" id="{EDE19EF5-590A-4DD2-B9A7-37D4D4D288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75770" y="2476055"/>
              <a:ext cx="558554" cy="536434"/>
            </a:xfrm>
            <a:custGeom>
              <a:avLst/>
              <a:gdLst>
                <a:gd name="T0" fmla="*/ 175 w 296"/>
                <a:gd name="T1" fmla="*/ 126 h 284"/>
                <a:gd name="T2" fmla="*/ 263 w 296"/>
                <a:gd name="T3" fmla="*/ 42 h 284"/>
                <a:gd name="T4" fmla="*/ 268 w 296"/>
                <a:gd name="T5" fmla="*/ 15 h 284"/>
                <a:gd name="T6" fmla="*/ 241 w 296"/>
                <a:gd name="T7" fmla="*/ 22 h 284"/>
                <a:gd name="T8" fmla="*/ 164 w 296"/>
                <a:gd name="T9" fmla="*/ 116 h 284"/>
                <a:gd name="T10" fmla="*/ 141 w 296"/>
                <a:gd name="T11" fmla="*/ 95 h 284"/>
                <a:gd name="T12" fmla="*/ 91 w 296"/>
                <a:gd name="T13" fmla="*/ 12 h 284"/>
                <a:gd name="T14" fmla="*/ 42 w 296"/>
                <a:gd name="T15" fmla="*/ 4 h 284"/>
                <a:gd name="T16" fmla="*/ 42 w 296"/>
                <a:gd name="T17" fmla="*/ 14 h 284"/>
                <a:gd name="T18" fmla="*/ 76 w 296"/>
                <a:gd name="T19" fmla="*/ 45 h 284"/>
                <a:gd name="T20" fmla="*/ 62 w 296"/>
                <a:gd name="T21" fmla="*/ 78 h 284"/>
                <a:gd name="T22" fmla="*/ 22 w 296"/>
                <a:gd name="T23" fmla="*/ 46 h 284"/>
                <a:gd name="T24" fmla="*/ 12 w 296"/>
                <a:gd name="T25" fmla="*/ 36 h 284"/>
                <a:gd name="T26" fmla="*/ 7 w 296"/>
                <a:gd name="T27" fmla="*/ 39 h 284"/>
                <a:gd name="T28" fmla="*/ 56 w 296"/>
                <a:gd name="T29" fmla="*/ 126 h 284"/>
                <a:gd name="T30" fmla="*/ 100 w 296"/>
                <a:gd name="T31" fmla="*/ 136 h 284"/>
                <a:gd name="T32" fmla="*/ 33 w 296"/>
                <a:gd name="T33" fmla="*/ 224 h 284"/>
                <a:gd name="T34" fmla="*/ 29 w 296"/>
                <a:gd name="T35" fmla="*/ 272 h 284"/>
                <a:gd name="T36" fmla="*/ 149 w 296"/>
                <a:gd name="T37" fmla="*/ 186 h 284"/>
                <a:gd name="T38" fmla="*/ 266 w 296"/>
                <a:gd name="T39" fmla="*/ 284 h 284"/>
                <a:gd name="T40" fmla="*/ 284 w 296"/>
                <a:gd name="T41" fmla="*/ 277 h 284"/>
                <a:gd name="T42" fmla="*/ 103 w 296"/>
                <a:gd name="T43" fmla="*/ 123 h 284"/>
                <a:gd name="T44" fmla="*/ 86 w 296"/>
                <a:gd name="T45" fmla="*/ 127 h 284"/>
                <a:gd name="T46" fmla="*/ 25 w 296"/>
                <a:gd name="T47" fmla="*/ 80 h 284"/>
                <a:gd name="T48" fmla="*/ 41 w 296"/>
                <a:gd name="T49" fmla="*/ 80 h 284"/>
                <a:gd name="T50" fmla="*/ 84 w 296"/>
                <a:gd name="T51" fmla="*/ 80 h 284"/>
                <a:gd name="T52" fmla="*/ 58 w 296"/>
                <a:gd name="T53" fmla="*/ 11 h 284"/>
                <a:gd name="T54" fmla="*/ 122 w 296"/>
                <a:gd name="T55" fmla="*/ 59 h 284"/>
                <a:gd name="T56" fmla="*/ 128 w 296"/>
                <a:gd name="T57" fmla="*/ 100 h 284"/>
                <a:gd name="T58" fmla="*/ 144 w 296"/>
                <a:gd name="T59" fmla="*/ 112 h 284"/>
                <a:gd name="T60" fmla="*/ 152 w 296"/>
                <a:gd name="T61" fmla="*/ 129 h 284"/>
                <a:gd name="T62" fmla="*/ 108 w 296"/>
                <a:gd name="T63" fmla="*/ 127 h 284"/>
                <a:gd name="T64" fmla="*/ 103 w 296"/>
                <a:gd name="T65" fmla="*/ 123 h 284"/>
                <a:gd name="T66" fmla="*/ 36 w 296"/>
                <a:gd name="T67" fmla="*/ 264 h 284"/>
                <a:gd name="T68" fmla="*/ 42 w 296"/>
                <a:gd name="T69" fmla="*/ 232 h 284"/>
                <a:gd name="T70" fmla="*/ 150 w 296"/>
                <a:gd name="T71" fmla="*/ 141 h 284"/>
                <a:gd name="T72" fmla="*/ 145 w 296"/>
                <a:gd name="T73" fmla="*/ 173 h 284"/>
                <a:gd name="T74" fmla="*/ 276 w 296"/>
                <a:gd name="T75" fmla="*/ 269 h 284"/>
                <a:gd name="T76" fmla="*/ 241 w 296"/>
                <a:gd name="T77" fmla="*/ 261 h 284"/>
                <a:gd name="T78" fmla="*/ 162 w 296"/>
                <a:gd name="T79" fmla="*/ 139 h 284"/>
                <a:gd name="T80" fmla="*/ 268 w 296"/>
                <a:gd name="T81" fmla="*/ 23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96" h="284">
                  <a:moveTo>
                    <a:pt x="276" y="226"/>
                  </a:moveTo>
                  <a:cubicBezTo>
                    <a:pt x="175" y="126"/>
                    <a:pt x="175" y="126"/>
                    <a:pt x="175" y="126"/>
                  </a:cubicBezTo>
                  <a:cubicBezTo>
                    <a:pt x="246" y="49"/>
                    <a:pt x="246" y="49"/>
                    <a:pt x="246" y="49"/>
                  </a:cubicBezTo>
                  <a:cubicBezTo>
                    <a:pt x="252" y="49"/>
                    <a:pt x="258" y="47"/>
                    <a:pt x="263" y="42"/>
                  </a:cubicBezTo>
                  <a:cubicBezTo>
                    <a:pt x="271" y="34"/>
                    <a:pt x="271" y="34"/>
                    <a:pt x="271" y="34"/>
                  </a:cubicBezTo>
                  <a:cubicBezTo>
                    <a:pt x="278" y="26"/>
                    <a:pt x="274" y="20"/>
                    <a:pt x="268" y="15"/>
                  </a:cubicBezTo>
                  <a:cubicBezTo>
                    <a:pt x="262" y="9"/>
                    <a:pt x="256" y="6"/>
                    <a:pt x="249" y="13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37" y="27"/>
                    <a:pt x="235" y="33"/>
                    <a:pt x="236" y="39"/>
                  </a:cubicBezTo>
                  <a:cubicBezTo>
                    <a:pt x="164" y="116"/>
                    <a:pt x="164" y="116"/>
                    <a:pt x="164" y="116"/>
                  </a:cubicBezTo>
                  <a:cubicBezTo>
                    <a:pt x="152" y="104"/>
                    <a:pt x="152" y="104"/>
                    <a:pt x="152" y="104"/>
                  </a:cubicBezTo>
                  <a:cubicBezTo>
                    <a:pt x="149" y="100"/>
                    <a:pt x="145" y="97"/>
                    <a:pt x="141" y="95"/>
                  </a:cubicBezTo>
                  <a:cubicBezTo>
                    <a:pt x="146" y="80"/>
                    <a:pt x="142" y="62"/>
                    <a:pt x="130" y="51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83" y="4"/>
                    <a:pt x="72" y="0"/>
                    <a:pt x="60" y="0"/>
                  </a:cubicBezTo>
                  <a:cubicBezTo>
                    <a:pt x="54" y="0"/>
                    <a:pt x="48" y="1"/>
                    <a:pt x="42" y="4"/>
                  </a:cubicBezTo>
                  <a:cubicBezTo>
                    <a:pt x="40" y="4"/>
                    <a:pt x="39" y="7"/>
                    <a:pt x="39" y="9"/>
                  </a:cubicBezTo>
                  <a:cubicBezTo>
                    <a:pt x="39" y="11"/>
                    <a:pt x="40" y="13"/>
                    <a:pt x="42" y="14"/>
                  </a:cubicBezTo>
                  <a:cubicBezTo>
                    <a:pt x="45" y="15"/>
                    <a:pt x="47" y="16"/>
                    <a:pt x="49" y="18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83" y="52"/>
                    <a:pt x="84" y="64"/>
                    <a:pt x="76" y="72"/>
                  </a:cubicBezTo>
                  <a:cubicBezTo>
                    <a:pt x="72" y="76"/>
                    <a:pt x="68" y="78"/>
                    <a:pt x="62" y="78"/>
                  </a:cubicBezTo>
                  <a:cubicBezTo>
                    <a:pt x="57" y="78"/>
                    <a:pt x="53" y="76"/>
                    <a:pt x="49" y="72"/>
                  </a:cubicBezTo>
                  <a:cubicBezTo>
                    <a:pt x="22" y="46"/>
                    <a:pt x="22" y="46"/>
                    <a:pt x="22" y="46"/>
                  </a:cubicBezTo>
                  <a:cubicBezTo>
                    <a:pt x="20" y="44"/>
                    <a:pt x="19" y="42"/>
                    <a:pt x="18" y="39"/>
                  </a:cubicBezTo>
                  <a:cubicBezTo>
                    <a:pt x="17" y="37"/>
                    <a:pt x="15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0" y="36"/>
                    <a:pt x="8" y="37"/>
                    <a:pt x="7" y="39"/>
                  </a:cubicBezTo>
                  <a:cubicBezTo>
                    <a:pt x="0" y="56"/>
                    <a:pt x="4" y="75"/>
                    <a:pt x="17" y="88"/>
                  </a:cubicBezTo>
                  <a:cubicBezTo>
                    <a:pt x="56" y="126"/>
                    <a:pt x="56" y="126"/>
                    <a:pt x="56" y="126"/>
                  </a:cubicBezTo>
                  <a:cubicBezTo>
                    <a:pt x="64" y="134"/>
                    <a:pt x="75" y="139"/>
                    <a:pt x="86" y="139"/>
                  </a:cubicBezTo>
                  <a:cubicBezTo>
                    <a:pt x="91" y="139"/>
                    <a:pt x="96" y="138"/>
                    <a:pt x="100" y="136"/>
                  </a:cubicBezTo>
                  <a:cubicBezTo>
                    <a:pt x="102" y="139"/>
                    <a:pt x="104" y="142"/>
                    <a:pt x="107" y="145"/>
                  </a:cubicBezTo>
                  <a:cubicBezTo>
                    <a:pt x="33" y="224"/>
                    <a:pt x="33" y="224"/>
                    <a:pt x="33" y="224"/>
                  </a:cubicBezTo>
                  <a:cubicBezTo>
                    <a:pt x="19" y="239"/>
                    <a:pt x="17" y="261"/>
                    <a:pt x="28" y="272"/>
                  </a:cubicBezTo>
                  <a:cubicBezTo>
                    <a:pt x="29" y="272"/>
                    <a:pt x="29" y="272"/>
                    <a:pt x="29" y="272"/>
                  </a:cubicBezTo>
                  <a:cubicBezTo>
                    <a:pt x="40" y="283"/>
                    <a:pt x="62" y="279"/>
                    <a:pt x="76" y="264"/>
                  </a:cubicBezTo>
                  <a:cubicBezTo>
                    <a:pt x="149" y="186"/>
                    <a:pt x="149" y="186"/>
                    <a:pt x="149" y="186"/>
                  </a:cubicBezTo>
                  <a:cubicBezTo>
                    <a:pt x="233" y="269"/>
                    <a:pt x="233" y="269"/>
                    <a:pt x="233" y="269"/>
                  </a:cubicBezTo>
                  <a:cubicBezTo>
                    <a:pt x="243" y="279"/>
                    <a:pt x="255" y="284"/>
                    <a:pt x="266" y="284"/>
                  </a:cubicBezTo>
                  <a:cubicBezTo>
                    <a:pt x="266" y="284"/>
                    <a:pt x="266" y="284"/>
                    <a:pt x="266" y="284"/>
                  </a:cubicBezTo>
                  <a:cubicBezTo>
                    <a:pt x="273" y="284"/>
                    <a:pt x="280" y="281"/>
                    <a:pt x="284" y="277"/>
                  </a:cubicBezTo>
                  <a:cubicBezTo>
                    <a:pt x="296" y="264"/>
                    <a:pt x="293" y="242"/>
                    <a:pt x="276" y="226"/>
                  </a:cubicBezTo>
                  <a:close/>
                  <a:moveTo>
                    <a:pt x="103" y="123"/>
                  </a:moveTo>
                  <a:cubicBezTo>
                    <a:pt x="102" y="123"/>
                    <a:pt x="101" y="123"/>
                    <a:pt x="101" y="124"/>
                  </a:cubicBezTo>
                  <a:cubicBezTo>
                    <a:pt x="96" y="126"/>
                    <a:pt x="91" y="127"/>
                    <a:pt x="86" y="127"/>
                  </a:cubicBezTo>
                  <a:cubicBezTo>
                    <a:pt x="78" y="127"/>
                    <a:pt x="70" y="124"/>
                    <a:pt x="64" y="118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18" y="73"/>
                    <a:pt x="15" y="64"/>
                    <a:pt x="15" y="55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47" y="86"/>
                    <a:pt x="54" y="89"/>
                    <a:pt x="62" y="89"/>
                  </a:cubicBezTo>
                  <a:cubicBezTo>
                    <a:pt x="71" y="89"/>
                    <a:pt x="78" y="86"/>
                    <a:pt x="84" y="80"/>
                  </a:cubicBezTo>
                  <a:cubicBezTo>
                    <a:pt x="96" y="68"/>
                    <a:pt x="96" y="49"/>
                    <a:pt x="84" y="37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67" y="11"/>
                    <a:pt x="76" y="14"/>
                    <a:pt x="83" y="21"/>
                  </a:cubicBezTo>
                  <a:cubicBezTo>
                    <a:pt x="122" y="59"/>
                    <a:pt x="122" y="59"/>
                    <a:pt x="122" y="59"/>
                  </a:cubicBezTo>
                  <a:cubicBezTo>
                    <a:pt x="131" y="68"/>
                    <a:pt x="134" y="83"/>
                    <a:pt x="128" y="96"/>
                  </a:cubicBezTo>
                  <a:cubicBezTo>
                    <a:pt x="128" y="97"/>
                    <a:pt x="128" y="99"/>
                    <a:pt x="128" y="100"/>
                  </a:cubicBezTo>
                  <a:cubicBezTo>
                    <a:pt x="129" y="101"/>
                    <a:pt x="130" y="103"/>
                    <a:pt x="131" y="103"/>
                  </a:cubicBezTo>
                  <a:cubicBezTo>
                    <a:pt x="136" y="105"/>
                    <a:pt x="140" y="108"/>
                    <a:pt x="144" y="112"/>
                  </a:cubicBezTo>
                  <a:cubicBezTo>
                    <a:pt x="156" y="124"/>
                    <a:pt x="156" y="124"/>
                    <a:pt x="156" y="124"/>
                  </a:cubicBezTo>
                  <a:cubicBezTo>
                    <a:pt x="152" y="129"/>
                    <a:pt x="152" y="129"/>
                    <a:pt x="152" y="129"/>
                  </a:cubicBezTo>
                  <a:cubicBezTo>
                    <a:pt x="141" y="124"/>
                    <a:pt x="127" y="127"/>
                    <a:pt x="115" y="137"/>
                  </a:cubicBezTo>
                  <a:cubicBezTo>
                    <a:pt x="112" y="134"/>
                    <a:pt x="110" y="130"/>
                    <a:pt x="108" y="127"/>
                  </a:cubicBezTo>
                  <a:cubicBezTo>
                    <a:pt x="108" y="125"/>
                    <a:pt x="107" y="124"/>
                    <a:pt x="105" y="124"/>
                  </a:cubicBezTo>
                  <a:cubicBezTo>
                    <a:pt x="104" y="123"/>
                    <a:pt x="104" y="123"/>
                    <a:pt x="103" y="123"/>
                  </a:cubicBezTo>
                  <a:close/>
                  <a:moveTo>
                    <a:pt x="68" y="256"/>
                  </a:moveTo>
                  <a:cubicBezTo>
                    <a:pt x="58" y="267"/>
                    <a:pt x="43" y="270"/>
                    <a:pt x="36" y="264"/>
                  </a:cubicBezTo>
                  <a:cubicBezTo>
                    <a:pt x="36" y="263"/>
                    <a:pt x="36" y="263"/>
                    <a:pt x="36" y="263"/>
                  </a:cubicBezTo>
                  <a:cubicBezTo>
                    <a:pt x="29" y="257"/>
                    <a:pt x="32" y="242"/>
                    <a:pt x="42" y="232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28" y="138"/>
                    <a:pt x="143" y="135"/>
                    <a:pt x="150" y="141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7" y="148"/>
                    <a:pt x="155" y="163"/>
                    <a:pt x="145" y="173"/>
                  </a:cubicBezTo>
                  <a:lnTo>
                    <a:pt x="68" y="256"/>
                  </a:lnTo>
                  <a:close/>
                  <a:moveTo>
                    <a:pt x="276" y="269"/>
                  </a:moveTo>
                  <a:cubicBezTo>
                    <a:pt x="273" y="272"/>
                    <a:pt x="269" y="273"/>
                    <a:pt x="266" y="273"/>
                  </a:cubicBezTo>
                  <a:cubicBezTo>
                    <a:pt x="258" y="273"/>
                    <a:pt x="249" y="268"/>
                    <a:pt x="241" y="261"/>
                  </a:cubicBezTo>
                  <a:cubicBezTo>
                    <a:pt x="156" y="178"/>
                    <a:pt x="156" y="178"/>
                    <a:pt x="156" y="178"/>
                  </a:cubicBezTo>
                  <a:cubicBezTo>
                    <a:pt x="166" y="165"/>
                    <a:pt x="168" y="150"/>
                    <a:pt x="162" y="139"/>
                  </a:cubicBezTo>
                  <a:cubicBezTo>
                    <a:pt x="167" y="134"/>
                    <a:pt x="167" y="134"/>
                    <a:pt x="167" y="134"/>
                  </a:cubicBezTo>
                  <a:cubicBezTo>
                    <a:pt x="268" y="234"/>
                    <a:pt x="268" y="234"/>
                    <a:pt x="268" y="234"/>
                  </a:cubicBezTo>
                  <a:cubicBezTo>
                    <a:pt x="280" y="245"/>
                    <a:pt x="284" y="261"/>
                    <a:pt x="276" y="26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grpSp>
          <p:nvGrpSpPr>
            <p:cNvPr id="39" name="Group 43">
              <a:extLst>
                <a:ext uri="{FF2B5EF4-FFF2-40B4-BE49-F238E27FC236}">
                  <a16:creationId xmlns:a16="http://schemas.microsoft.com/office/drawing/2014/main" id="{72F67895-D8E5-476E-9152-D6348805BBD6}"/>
                </a:ext>
              </a:extLst>
            </p:cNvPr>
            <p:cNvGrpSpPr/>
            <p:nvPr/>
          </p:nvGrpSpPr>
          <p:grpSpPr>
            <a:xfrm>
              <a:off x="8383125" y="3429478"/>
              <a:ext cx="568325" cy="530225"/>
              <a:chOff x="4775200" y="5180013"/>
              <a:chExt cx="568325" cy="530225"/>
            </a:xfrm>
            <a:solidFill>
              <a:schemeClr val="accent2"/>
            </a:solidFill>
          </p:grpSpPr>
          <p:sp>
            <p:nvSpPr>
              <p:cNvPr id="48" name="Freeform 61">
                <a:extLst>
                  <a:ext uri="{FF2B5EF4-FFF2-40B4-BE49-F238E27FC236}">
                    <a16:creationId xmlns:a16="http://schemas.microsoft.com/office/drawing/2014/main" id="{DB9494ED-1A73-4D64-ACE4-86A33D9CB8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5200" y="5180013"/>
                <a:ext cx="568325" cy="530225"/>
              </a:xfrm>
              <a:custGeom>
                <a:avLst/>
                <a:gdLst>
                  <a:gd name="T0" fmla="*/ 215 w 301"/>
                  <a:gd name="T1" fmla="*/ 0 h 281"/>
                  <a:gd name="T2" fmla="*/ 129 w 301"/>
                  <a:gd name="T3" fmla="*/ 86 h 281"/>
                  <a:gd name="T4" fmla="*/ 134 w 301"/>
                  <a:gd name="T5" fmla="*/ 115 h 281"/>
                  <a:gd name="T6" fmla="*/ 1 w 301"/>
                  <a:gd name="T7" fmla="*/ 248 h 281"/>
                  <a:gd name="T8" fmla="*/ 0 w 301"/>
                  <a:gd name="T9" fmla="*/ 252 h 281"/>
                  <a:gd name="T10" fmla="*/ 1 w 301"/>
                  <a:gd name="T11" fmla="*/ 275 h 281"/>
                  <a:gd name="T12" fmla="*/ 7 w 301"/>
                  <a:gd name="T13" fmla="*/ 281 h 281"/>
                  <a:gd name="T14" fmla="*/ 7 w 301"/>
                  <a:gd name="T15" fmla="*/ 281 h 281"/>
                  <a:gd name="T16" fmla="*/ 55 w 301"/>
                  <a:gd name="T17" fmla="*/ 279 h 281"/>
                  <a:gd name="T18" fmla="*/ 60 w 301"/>
                  <a:gd name="T19" fmla="*/ 275 h 281"/>
                  <a:gd name="T20" fmla="*/ 66 w 301"/>
                  <a:gd name="T21" fmla="*/ 255 h 281"/>
                  <a:gd name="T22" fmla="*/ 87 w 301"/>
                  <a:gd name="T23" fmla="*/ 250 h 281"/>
                  <a:gd name="T24" fmla="*/ 92 w 301"/>
                  <a:gd name="T25" fmla="*/ 246 h 281"/>
                  <a:gd name="T26" fmla="*/ 95 w 301"/>
                  <a:gd name="T27" fmla="*/ 227 h 281"/>
                  <a:gd name="T28" fmla="*/ 115 w 301"/>
                  <a:gd name="T29" fmla="*/ 222 h 281"/>
                  <a:gd name="T30" fmla="*/ 120 w 301"/>
                  <a:gd name="T31" fmla="*/ 217 h 281"/>
                  <a:gd name="T32" fmla="*/ 121 w 301"/>
                  <a:gd name="T33" fmla="*/ 196 h 281"/>
                  <a:gd name="T34" fmla="*/ 137 w 301"/>
                  <a:gd name="T35" fmla="*/ 195 h 281"/>
                  <a:gd name="T36" fmla="*/ 142 w 301"/>
                  <a:gd name="T37" fmla="*/ 190 h 281"/>
                  <a:gd name="T38" fmla="*/ 147 w 301"/>
                  <a:gd name="T39" fmla="*/ 170 h 281"/>
                  <a:gd name="T40" fmla="*/ 149 w 301"/>
                  <a:gd name="T41" fmla="*/ 170 h 281"/>
                  <a:gd name="T42" fmla="*/ 174 w 301"/>
                  <a:gd name="T43" fmla="*/ 162 h 281"/>
                  <a:gd name="T44" fmla="*/ 215 w 301"/>
                  <a:gd name="T45" fmla="*/ 172 h 281"/>
                  <a:gd name="T46" fmla="*/ 301 w 301"/>
                  <a:gd name="T47" fmla="*/ 86 h 281"/>
                  <a:gd name="T48" fmla="*/ 215 w 301"/>
                  <a:gd name="T49" fmla="*/ 0 h 281"/>
                  <a:gd name="T50" fmla="*/ 215 w 301"/>
                  <a:gd name="T51" fmla="*/ 160 h 281"/>
                  <a:gd name="T52" fmla="*/ 177 w 301"/>
                  <a:gd name="T53" fmla="*/ 150 h 281"/>
                  <a:gd name="T54" fmla="*/ 171 w 301"/>
                  <a:gd name="T55" fmla="*/ 150 h 281"/>
                  <a:gd name="T56" fmla="*/ 149 w 301"/>
                  <a:gd name="T57" fmla="*/ 158 h 281"/>
                  <a:gd name="T58" fmla="*/ 144 w 301"/>
                  <a:gd name="T59" fmla="*/ 158 h 281"/>
                  <a:gd name="T60" fmla="*/ 144 w 301"/>
                  <a:gd name="T61" fmla="*/ 158 h 281"/>
                  <a:gd name="T62" fmla="*/ 140 w 301"/>
                  <a:gd name="T63" fmla="*/ 158 h 281"/>
                  <a:gd name="T64" fmla="*/ 137 w 301"/>
                  <a:gd name="T65" fmla="*/ 162 h 281"/>
                  <a:gd name="T66" fmla="*/ 132 w 301"/>
                  <a:gd name="T67" fmla="*/ 184 h 281"/>
                  <a:gd name="T68" fmla="*/ 115 w 301"/>
                  <a:gd name="T69" fmla="*/ 186 h 281"/>
                  <a:gd name="T70" fmla="*/ 110 w 301"/>
                  <a:gd name="T71" fmla="*/ 191 h 281"/>
                  <a:gd name="T72" fmla="*/ 108 w 301"/>
                  <a:gd name="T73" fmla="*/ 212 h 281"/>
                  <a:gd name="T74" fmla="*/ 89 w 301"/>
                  <a:gd name="T75" fmla="*/ 217 h 281"/>
                  <a:gd name="T76" fmla="*/ 85 w 301"/>
                  <a:gd name="T77" fmla="*/ 221 h 281"/>
                  <a:gd name="T78" fmla="*/ 81 w 301"/>
                  <a:gd name="T79" fmla="*/ 240 h 281"/>
                  <a:gd name="T80" fmla="*/ 60 w 301"/>
                  <a:gd name="T81" fmla="*/ 244 h 281"/>
                  <a:gd name="T82" fmla="*/ 55 w 301"/>
                  <a:gd name="T83" fmla="*/ 248 h 281"/>
                  <a:gd name="T84" fmla="*/ 50 w 301"/>
                  <a:gd name="T85" fmla="*/ 268 h 281"/>
                  <a:gd name="T86" fmla="*/ 12 w 301"/>
                  <a:gd name="T87" fmla="*/ 269 h 281"/>
                  <a:gd name="T88" fmla="*/ 11 w 301"/>
                  <a:gd name="T89" fmla="*/ 254 h 281"/>
                  <a:gd name="T90" fmla="*/ 145 w 301"/>
                  <a:gd name="T91" fmla="*/ 120 h 281"/>
                  <a:gd name="T92" fmla="*/ 146 w 301"/>
                  <a:gd name="T93" fmla="*/ 114 h 281"/>
                  <a:gd name="T94" fmla="*/ 141 w 301"/>
                  <a:gd name="T95" fmla="*/ 86 h 281"/>
                  <a:gd name="T96" fmla="*/ 215 w 301"/>
                  <a:gd name="T97" fmla="*/ 12 h 281"/>
                  <a:gd name="T98" fmla="*/ 289 w 301"/>
                  <a:gd name="T99" fmla="*/ 86 h 281"/>
                  <a:gd name="T100" fmla="*/ 215 w 301"/>
                  <a:gd name="T101" fmla="*/ 160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01" h="281">
                    <a:moveTo>
                      <a:pt x="215" y="0"/>
                    </a:moveTo>
                    <a:cubicBezTo>
                      <a:pt x="168" y="0"/>
                      <a:pt x="129" y="39"/>
                      <a:pt x="129" y="86"/>
                    </a:cubicBezTo>
                    <a:cubicBezTo>
                      <a:pt x="129" y="96"/>
                      <a:pt x="131" y="106"/>
                      <a:pt x="134" y="115"/>
                    </a:cubicBezTo>
                    <a:cubicBezTo>
                      <a:pt x="1" y="248"/>
                      <a:pt x="1" y="248"/>
                      <a:pt x="1" y="248"/>
                    </a:cubicBezTo>
                    <a:cubicBezTo>
                      <a:pt x="0" y="249"/>
                      <a:pt x="0" y="250"/>
                      <a:pt x="0" y="252"/>
                    </a:cubicBezTo>
                    <a:cubicBezTo>
                      <a:pt x="1" y="275"/>
                      <a:pt x="1" y="275"/>
                      <a:pt x="1" y="275"/>
                    </a:cubicBezTo>
                    <a:cubicBezTo>
                      <a:pt x="1" y="278"/>
                      <a:pt x="4" y="281"/>
                      <a:pt x="7" y="281"/>
                    </a:cubicBezTo>
                    <a:cubicBezTo>
                      <a:pt x="7" y="281"/>
                      <a:pt x="7" y="281"/>
                      <a:pt x="7" y="281"/>
                    </a:cubicBezTo>
                    <a:cubicBezTo>
                      <a:pt x="55" y="279"/>
                      <a:pt x="55" y="279"/>
                      <a:pt x="55" y="279"/>
                    </a:cubicBezTo>
                    <a:cubicBezTo>
                      <a:pt x="57" y="279"/>
                      <a:pt x="59" y="277"/>
                      <a:pt x="60" y="275"/>
                    </a:cubicBezTo>
                    <a:cubicBezTo>
                      <a:pt x="66" y="255"/>
                      <a:pt x="66" y="255"/>
                      <a:pt x="66" y="255"/>
                    </a:cubicBezTo>
                    <a:cubicBezTo>
                      <a:pt x="87" y="250"/>
                      <a:pt x="87" y="250"/>
                      <a:pt x="87" y="250"/>
                    </a:cubicBezTo>
                    <a:cubicBezTo>
                      <a:pt x="90" y="250"/>
                      <a:pt x="91" y="248"/>
                      <a:pt x="92" y="246"/>
                    </a:cubicBezTo>
                    <a:cubicBezTo>
                      <a:pt x="95" y="227"/>
                      <a:pt x="95" y="227"/>
                      <a:pt x="95" y="227"/>
                    </a:cubicBezTo>
                    <a:cubicBezTo>
                      <a:pt x="115" y="222"/>
                      <a:pt x="115" y="222"/>
                      <a:pt x="115" y="222"/>
                    </a:cubicBezTo>
                    <a:cubicBezTo>
                      <a:pt x="118" y="221"/>
                      <a:pt x="119" y="219"/>
                      <a:pt x="120" y="217"/>
                    </a:cubicBezTo>
                    <a:cubicBezTo>
                      <a:pt x="121" y="196"/>
                      <a:pt x="121" y="196"/>
                      <a:pt x="121" y="196"/>
                    </a:cubicBezTo>
                    <a:cubicBezTo>
                      <a:pt x="137" y="195"/>
                      <a:pt x="137" y="195"/>
                      <a:pt x="137" y="195"/>
                    </a:cubicBezTo>
                    <a:cubicBezTo>
                      <a:pt x="140" y="194"/>
                      <a:pt x="142" y="192"/>
                      <a:pt x="142" y="190"/>
                    </a:cubicBezTo>
                    <a:cubicBezTo>
                      <a:pt x="147" y="170"/>
                      <a:pt x="147" y="170"/>
                      <a:pt x="147" y="170"/>
                    </a:cubicBezTo>
                    <a:cubicBezTo>
                      <a:pt x="147" y="170"/>
                      <a:pt x="148" y="170"/>
                      <a:pt x="149" y="170"/>
                    </a:cubicBezTo>
                    <a:cubicBezTo>
                      <a:pt x="155" y="170"/>
                      <a:pt x="164" y="168"/>
                      <a:pt x="174" y="162"/>
                    </a:cubicBezTo>
                    <a:cubicBezTo>
                      <a:pt x="187" y="168"/>
                      <a:pt x="201" y="172"/>
                      <a:pt x="215" y="172"/>
                    </a:cubicBezTo>
                    <a:cubicBezTo>
                      <a:pt x="262" y="172"/>
                      <a:pt x="301" y="133"/>
                      <a:pt x="301" y="86"/>
                    </a:cubicBezTo>
                    <a:cubicBezTo>
                      <a:pt x="301" y="39"/>
                      <a:pt x="262" y="0"/>
                      <a:pt x="215" y="0"/>
                    </a:cubicBezTo>
                    <a:close/>
                    <a:moveTo>
                      <a:pt x="215" y="160"/>
                    </a:moveTo>
                    <a:cubicBezTo>
                      <a:pt x="202" y="160"/>
                      <a:pt x="188" y="157"/>
                      <a:pt x="177" y="150"/>
                    </a:cubicBezTo>
                    <a:cubicBezTo>
                      <a:pt x="175" y="149"/>
                      <a:pt x="173" y="149"/>
                      <a:pt x="171" y="150"/>
                    </a:cubicBezTo>
                    <a:cubicBezTo>
                      <a:pt x="161" y="157"/>
                      <a:pt x="154" y="158"/>
                      <a:pt x="149" y="158"/>
                    </a:cubicBezTo>
                    <a:cubicBezTo>
                      <a:pt x="146" y="158"/>
                      <a:pt x="144" y="158"/>
                      <a:pt x="144" y="158"/>
                    </a:cubicBezTo>
                    <a:cubicBezTo>
                      <a:pt x="144" y="158"/>
                      <a:pt x="144" y="158"/>
                      <a:pt x="144" y="158"/>
                    </a:cubicBezTo>
                    <a:cubicBezTo>
                      <a:pt x="143" y="157"/>
                      <a:pt x="141" y="157"/>
                      <a:pt x="140" y="158"/>
                    </a:cubicBezTo>
                    <a:cubicBezTo>
                      <a:pt x="138" y="158"/>
                      <a:pt x="137" y="160"/>
                      <a:pt x="137" y="162"/>
                    </a:cubicBezTo>
                    <a:cubicBezTo>
                      <a:pt x="132" y="184"/>
                      <a:pt x="132" y="184"/>
                      <a:pt x="132" y="184"/>
                    </a:cubicBezTo>
                    <a:cubicBezTo>
                      <a:pt x="115" y="186"/>
                      <a:pt x="115" y="186"/>
                      <a:pt x="115" y="186"/>
                    </a:cubicBezTo>
                    <a:cubicBezTo>
                      <a:pt x="112" y="186"/>
                      <a:pt x="110" y="188"/>
                      <a:pt x="110" y="191"/>
                    </a:cubicBezTo>
                    <a:cubicBezTo>
                      <a:pt x="108" y="212"/>
                      <a:pt x="108" y="212"/>
                      <a:pt x="108" y="212"/>
                    </a:cubicBezTo>
                    <a:cubicBezTo>
                      <a:pt x="89" y="217"/>
                      <a:pt x="89" y="217"/>
                      <a:pt x="89" y="217"/>
                    </a:cubicBezTo>
                    <a:cubicBezTo>
                      <a:pt x="87" y="217"/>
                      <a:pt x="85" y="219"/>
                      <a:pt x="85" y="221"/>
                    </a:cubicBezTo>
                    <a:cubicBezTo>
                      <a:pt x="81" y="240"/>
                      <a:pt x="81" y="240"/>
                      <a:pt x="81" y="240"/>
                    </a:cubicBezTo>
                    <a:cubicBezTo>
                      <a:pt x="60" y="244"/>
                      <a:pt x="60" y="244"/>
                      <a:pt x="60" y="244"/>
                    </a:cubicBezTo>
                    <a:cubicBezTo>
                      <a:pt x="58" y="244"/>
                      <a:pt x="56" y="246"/>
                      <a:pt x="55" y="248"/>
                    </a:cubicBezTo>
                    <a:cubicBezTo>
                      <a:pt x="50" y="268"/>
                      <a:pt x="50" y="268"/>
                      <a:pt x="50" y="268"/>
                    </a:cubicBezTo>
                    <a:cubicBezTo>
                      <a:pt x="12" y="269"/>
                      <a:pt x="12" y="269"/>
                      <a:pt x="12" y="269"/>
                    </a:cubicBezTo>
                    <a:cubicBezTo>
                      <a:pt x="11" y="254"/>
                      <a:pt x="11" y="254"/>
                      <a:pt x="11" y="254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7" y="119"/>
                      <a:pt x="147" y="116"/>
                      <a:pt x="146" y="114"/>
                    </a:cubicBezTo>
                    <a:cubicBezTo>
                      <a:pt x="142" y="105"/>
                      <a:pt x="141" y="96"/>
                      <a:pt x="141" y="86"/>
                    </a:cubicBezTo>
                    <a:cubicBezTo>
                      <a:pt x="141" y="45"/>
                      <a:pt x="174" y="12"/>
                      <a:pt x="215" y="12"/>
                    </a:cubicBezTo>
                    <a:cubicBezTo>
                      <a:pt x="256" y="12"/>
                      <a:pt x="289" y="45"/>
                      <a:pt x="289" y="86"/>
                    </a:cubicBezTo>
                    <a:cubicBezTo>
                      <a:pt x="289" y="127"/>
                      <a:pt x="256" y="160"/>
                      <a:pt x="215" y="1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49" name="Freeform 62">
                <a:extLst>
                  <a:ext uri="{FF2B5EF4-FFF2-40B4-BE49-F238E27FC236}">
                    <a16:creationId xmlns:a16="http://schemas.microsoft.com/office/drawing/2014/main" id="{6B5ABC19-BC6D-440E-B92C-83E5ECD35F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19688" y="5253038"/>
                <a:ext cx="96838" cy="98425"/>
              </a:xfrm>
              <a:custGeom>
                <a:avLst/>
                <a:gdLst>
                  <a:gd name="T0" fmla="*/ 26 w 52"/>
                  <a:gd name="T1" fmla="*/ 0 h 52"/>
                  <a:gd name="T2" fmla="*/ 0 w 52"/>
                  <a:gd name="T3" fmla="*/ 26 h 52"/>
                  <a:gd name="T4" fmla="*/ 26 w 52"/>
                  <a:gd name="T5" fmla="*/ 52 h 52"/>
                  <a:gd name="T6" fmla="*/ 52 w 52"/>
                  <a:gd name="T7" fmla="*/ 26 h 52"/>
                  <a:gd name="T8" fmla="*/ 26 w 52"/>
                  <a:gd name="T9" fmla="*/ 0 h 52"/>
                  <a:gd name="T10" fmla="*/ 26 w 52"/>
                  <a:gd name="T11" fmla="*/ 42 h 52"/>
                  <a:gd name="T12" fmla="*/ 10 w 52"/>
                  <a:gd name="T13" fmla="*/ 26 h 52"/>
                  <a:gd name="T14" fmla="*/ 26 w 52"/>
                  <a:gd name="T15" fmla="*/ 10 h 52"/>
                  <a:gd name="T16" fmla="*/ 42 w 52"/>
                  <a:gd name="T17" fmla="*/ 26 h 52"/>
                  <a:gd name="T18" fmla="*/ 26 w 52"/>
                  <a:gd name="T19" fmla="*/ 4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cubicBezTo>
                      <a:pt x="12" y="0"/>
                      <a:pt x="0" y="11"/>
                      <a:pt x="0" y="26"/>
                    </a:cubicBezTo>
                    <a:cubicBezTo>
                      <a:pt x="0" y="40"/>
                      <a:pt x="12" y="52"/>
                      <a:pt x="26" y="52"/>
                    </a:cubicBezTo>
                    <a:cubicBezTo>
                      <a:pt x="40" y="52"/>
                      <a:pt x="52" y="40"/>
                      <a:pt x="52" y="26"/>
                    </a:cubicBezTo>
                    <a:cubicBezTo>
                      <a:pt x="52" y="11"/>
                      <a:pt x="40" y="0"/>
                      <a:pt x="26" y="0"/>
                    </a:cubicBezTo>
                    <a:close/>
                    <a:moveTo>
                      <a:pt x="26" y="42"/>
                    </a:moveTo>
                    <a:cubicBezTo>
                      <a:pt x="17" y="42"/>
                      <a:pt x="10" y="34"/>
                      <a:pt x="10" y="26"/>
                    </a:cubicBezTo>
                    <a:cubicBezTo>
                      <a:pt x="10" y="17"/>
                      <a:pt x="17" y="10"/>
                      <a:pt x="26" y="10"/>
                    </a:cubicBezTo>
                    <a:cubicBezTo>
                      <a:pt x="35" y="10"/>
                      <a:pt x="42" y="17"/>
                      <a:pt x="42" y="26"/>
                    </a:cubicBezTo>
                    <a:cubicBezTo>
                      <a:pt x="42" y="34"/>
                      <a:pt x="35" y="42"/>
                      <a:pt x="26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</p:grpSp>
        <p:sp>
          <p:nvSpPr>
            <p:cNvPr id="40" name="Freeform 159">
              <a:extLst>
                <a:ext uri="{FF2B5EF4-FFF2-40B4-BE49-F238E27FC236}">
                  <a16:creationId xmlns:a16="http://schemas.microsoft.com/office/drawing/2014/main" id="{0B70BC00-44A1-42C4-8DBC-5B0CF0C426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10680" y="4417058"/>
              <a:ext cx="534751" cy="571350"/>
            </a:xfrm>
            <a:custGeom>
              <a:avLst/>
              <a:gdLst>
                <a:gd name="T0" fmla="*/ 196 w 283"/>
                <a:gd name="T1" fmla="*/ 190 h 303"/>
                <a:gd name="T2" fmla="*/ 240 w 283"/>
                <a:gd name="T3" fmla="*/ 123 h 303"/>
                <a:gd name="T4" fmla="*/ 184 w 283"/>
                <a:gd name="T5" fmla="*/ 16 h 303"/>
                <a:gd name="T6" fmla="*/ 69 w 283"/>
                <a:gd name="T7" fmla="*/ 63 h 303"/>
                <a:gd name="T8" fmla="*/ 83 w 283"/>
                <a:gd name="T9" fmla="*/ 109 h 303"/>
                <a:gd name="T10" fmla="*/ 87 w 283"/>
                <a:gd name="T11" fmla="*/ 190 h 303"/>
                <a:gd name="T12" fmla="*/ 0 w 283"/>
                <a:gd name="T13" fmla="*/ 192 h 303"/>
                <a:gd name="T14" fmla="*/ 98 w 283"/>
                <a:gd name="T15" fmla="*/ 303 h 303"/>
                <a:gd name="T16" fmla="*/ 283 w 283"/>
                <a:gd name="T17" fmla="*/ 198 h 303"/>
                <a:gd name="T18" fmla="*/ 196 w 283"/>
                <a:gd name="T19" fmla="*/ 192 h 303"/>
                <a:gd name="T20" fmla="*/ 234 w 283"/>
                <a:gd name="T21" fmla="*/ 99 h 303"/>
                <a:gd name="T22" fmla="*/ 96 w 283"/>
                <a:gd name="T23" fmla="*/ 45 h 303"/>
                <a:gd name="T24" fmla="*/ 91 w 283"/>
                <a:gd name="T25" fmla="*/ 100 h 303"/>
                <a:gd name="T26" fmla="*/ 119 w 283"/>
                <a:gd name="T27" fmla="*/ 54 h 303"/>
                <a:gd name="T28" fmla="*/ 216 w 283"/>
                <a:gd name="T29" fmla="*/ 91 h 303"/>
                <a:gd name="T30" fmla="*/ 188 w 283"/>
                <a:gd name="T31" fmla="*/ 137 h 303"/>
                <a:gd name="T32" fmla="*/ 149 w 283"/>
                <a:gd name="T33" fmla="*/ 88 h 303"/>
                <a:gd name="T34" fmla="*/ 142 w 283"/>
                <a:gd name="T35" fmla="*/ 87 h 303"/>
                <a:gd name="T36" fmla="*/ 141 w 283"/>
                <a:gd name="T37" fmla="*/ 87 h 303"/>
                <a:gd name="T38" fmla="*/ 91 w 283"/>
                <a:gd name="T39" fmla="*/ 100 h 303"/>
                <a:gd name="T40" fmla="*/ 184 w 283"/>
                <a:gd name="T41" fmla="*/ 192 h 303"/>
                <a:gd name="T42" fmla="*/ 164 w 283"/>
                <a:gd name="T43" fmla="*/ 115 h 303"/>
                <a:gd name="T44" fmla="*/ 163 w 283"/>
                <a:gd name="T45" fmla="*/ 192 h 303"/>
                <a:gd name="T46" fmla="*/ 126 w 283"/>
                <a:gd name="T47" fmla="*/ 166 h 303"/>
                <a:gd name="T48" fmla="*/ 144 w 283"/>
                <a:gd name="T49" fmla="*/ 99 h 303"/>
                <a:gd name="T50" fmla="*/ 162 w 283"/>
                <a:gd name="T51" fmla="*/ 166 h 303"/>
                <a:gd name="T52" fmla="*/ 128 w 283"/>
                <a:gd name="T53" fmla="*/ 104 h 303"/>
                <a:gd name="T54" fmla="*/ 99 w 283"/>
                <a:gd name="T55" fmla="*/ 192 h 303"/>
                <a:gd name="T56" fmla="*/ 128 w 283"/>
                <a:gd name="T57" fmla="*/ 104 h 303"/>
                <a:gd name="T58" fmla="*/ 98 w 283"/>
                <a:gd name="T59" fmla="*/ 292 h 303"/>
                <a:gd name="T60" fmla="*/ 168 w 283"/>
                <a:gd name="T61" fmla="*/ 204 h 303"/>
                <a:gd name="T62" fmla="*/ 169 w 283"/>
                <a:gd name="T63" fmla="*/ 204 h 303"/>
                <a:gd name="T64" fmla="*/ 271 w 283"/>
                <a:gd name="T65" fmla="*/ 204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3" h="303">
                  <a:moveTo>
                    <a:pt x="196" y="192"/>
                  </a:moveTo>
                  <a:cubicBezTo>
                    <a:pt x="196" y="192"/>
                    <a:pt x="196" y="191"/>
                    <a:pt x="196" y="190"/>
                  </a:cubicBezTo>
                  <a:cubicBezTo>
                    <a:pt x="196" y="176"/>
                    <a:pt x="194" y="162"/>
                    <a:pt x="190" y="148"/>
                  </a:cubicBezTo>
                  <a:cubicBezTo>
                    <a:pt x="217" y="148"/>
                    <a:pt x="235" y="138"/>
                    <a:pt x="240" y="123"/>
                  </a:cubicBezTo>
                  <a:cubicBezTo>
                    <a:pt x="241" y="120"/>
                    <a:pt x="241" y="116"/>
                    <a:pt x="241" y="112"/>
                  </a:cubicBezTo>
                  <a:cubicBezTo>
                    <a:pt x="250" y="42"/>
                    <a:pt x="184" y="16"/>
                    <a:pt x="184" y="16"/>
                  </a:cubicBezTo>
                  <a:cubicBezTo>
                    <a:pt x="100" y="0"/>
                    <a:pt x="69" y="63"/>
                    <a:pt x="69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4"/>
                    <a:pt x="68" y="66"/>
                    <a:pt x="67" y="67"/>
                  </a:cubicBezTo>
                  <a:cubicBezTo>
                    <a:pt x="63" y="80"/>
                    <a:pt x="69" y="95"/>
                    <a:pt x="83" y="109"/>
                  </a:cubicBezTo>
                  <a:cubicBezTo>
                    <a:pt x="89" y="113"/>
                    <a:pt x="95" y="118"/>
                    <a:pt x="101" y="122"/>
                  </a:cubicBezTo>
                  <a:cubicBezTo>
                    <a:pt x="92" y="142"/>
                    <a:pt x="87" y="167"/>
                    <a:pt x="87" y="190"/>
                  </a:cubicBezTo>
                  <a:cubicBezTo>
                    <a:pt x="87" y="191"/>
                    <a:pt x="87" y="192"/>
                    <a:pt x="87" y="192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4" y="257"/>
                    <a:pt x="47" y="303"/>
                    <a:pt x="98" y="303"/>
                  </a:cubicBezTo>
                  <a:cubicBezTo>
                    <a:pt x="185" y="303"/>
                    <a:pt x="185" y="303"/>
                    <a:pt x="185" y="303"/>
                  </a:cubicBezTo>
                  <a:cubicBezTo>
                    <a:pt x="236" y="303"/>
                    <a:pt x="279" y="257"/>
                    <a:pt x="283" y="198"/>
                  </a:cubicBezTo>
                  <a:cubicBezTo>
                    <a:pt x="283" y="192"/>
                    <a:pt x="283" y="192"/>
                    <a:pt x="283" y="192"/>
                  </a:cubicBezTo>
                  <a:lnTo>
                    <a:pt x="196" y="192"/>
                  </a:lnTo>
                  <a:close/>
                  <a:moveTo>
                    <a:pt x="182" y="27"/>
                  </a:moveTo>
                  <a:cubicBezTo>
                    <a:pt x="207" y="38"/>
                    <a:pt x="231" y="64"/>
                    <a:pt x="234" y="99"/>
                  </a:cubicBezTo>
                  <a:cubicBezTo>
                    <a:pt x="224" y="77"/>
                    <a:pt x="195" y="60"/>
                    <a:pt x="173" y="53"/>
                  </a:cubicBezTo>
                  <a:cubicBezTo>
                    <a:pt x="157" y="48"/>
                    <a:pt x="118" y="40"/>
                    <a:pt x="96" y="45"/>
                  </a:cubicBezTo>
                  <a:cubicBezTo>
                    <a:pt x="93" y="46"/>
                    <a:pt x="130" y="13"/>
                    <a:pt x="182" y="27"/>
                  </a:cubicBezTo>
                  <a:close/>
                  <a:moveTo>
                    <a:pt x="91" y="100"/>
                  </a:moveTo>
                  <a:cubicBezTo>
                    <a:pt x="80" y="90"/>
                    <a:pt x="76" y="79"/>
                    <a:pt x="78" y="71"/>
                  </a:cubicBezTo>
                  <a:cubicBezTo>
                    <a:pt x="82" y="61"/>
                    <a:pt x="97" y="54"/>
                    <a:pt x="119" y="54"/>
                  </a:cubicBezTo>
                  <a:cubicBezTo>
                    <a:pt x="133" y="54"/>
                    <a:pt x="149" y="57"/>
                    <a:pt x="164" y="62"/>
                  </a:cubicBezTo>
                  <a:cubicBezTo>
                    <a:pt x="185" y="69"/>
                    <a:pt x="203" y="79"/>
                    <a:pt x="216" y="91"/>
                  </a:cubicBezTo>
                  <a:cubicBezTo>
                    <a:pt x="227" y="101"/>
                    <a:pt x="231" y="112"/>
                    <a:pt x="229" y="120"/>
                  </a:cubicBezTo>
                  <a:cubicBezTo>
                    <a:pt x="225" y="130"/>
                    <a:pt x="210" y="137"/>
                    <a:pt x="188" y="137"/>
                  </a:cubicBezTo>
                  <a:cubicBezTo>
                    <a:pt x="188" y="137"/>
                    <a:pt x="187" y="137"/>
                    <a:pt x="187" y="137"/>
                  </a:cubicBezTo>
                  <a:cubicBezTo>
                    <a:pt x="179" y="112"/>
                    <a:pt x="165" y="92"/>
                    <a:pt x="149" y="88"/>
                  </a:cubicBezTo>
                  <a:cubicBezTo>
                    <a:pt x="148" y="88"/>
                    <a:pt x="148" y="87"/>
                    <a:pt x="148" y="87"/>
                  </a:cubicBezTo>
                  <a:cubicBezTo>
                    <a:pt x="146" y="87"/>
                    <a:pt x="144" y="87"/>
                    <a:pt x="142" y="87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42" y="87"/>
                    <a:pt x="141" y="87"/>
                    <a:pt x="141" y="87"/>
                  </a:cubicBezTo>
                  <a:cubicBezTo>
                    <a:pt x="128" y="87"/>
                    <a:pt x="116" y="97"/>
                    <a:pt x="107" y="112"/>
                  </a:cubicBezTo>
                  <a:cubicBezTo>
                    <a:pt x="101" y="108"/>
                    <a:pt x="96" y="104"/>
                    <a:pt x="91" y="100"/>
                  </a:cubicBezTo>
                  <a:close/>
                  <a:moveTo>
                    <a:pt x="184" y="190"/>
                  </a:moveTo>
                  <a:cubicBezTo>
                    <a:pt x="184" y="191"/>
                    <a:pt x="184" y="192"/>
                    <a:pt x="184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5" y="155"/>
                    <a:pt x="170" y="131"/>
                    <a:pt x="164" y="115"/>
                  </a:cubicBezTo>
                  <a:cubicBezTo>
                    <a:pt x="176" y="132"/>
                    <a:pt x="184" y="161"/>
                    <a:pt x="184" y="190"/>
                  </a:cubicBezTo>
                  <a:close/>
                  <a:moveTo>
                    <a:pt x="163" y="192"/>
                  </a:moveTo>
                  <a:cubicBezTo>
                    <a:pt x="125" y="192"/>
                    <a:pt x="125" y="192"/>
                    <a:pt x="125" y="192"/>
                  </a:cubicBezTo>
                  <a:cubicBezTo>
                    <a:pt x="125" y="182"/>
                    <a:pt x="125" y="174"/>
                    <a:pt x="126" y="166"/>
                  </a:cubicBezTo>
                  <a:cubicBezTo>
                    <a:pt x="138" y="111"/>
                    <a:pt x="138" y="111"/>
                    <a:pt x="138" y="111"/>
                  </a:cubicBezTo>
                  <a:cubicBezTo>
                    <a:pt x="140" y="105"/>
                    <a:pt x="142" y="101"/>
                    <a:pt x="144" y="99"/>
                  </a:cubicBezTo>
                  <a:cubicBezTo>
                    <a:pt x="145" y="101"/>
                    <a:pt x="148" y="105"/>
                    <a:pt x="150" y="111"/>
                  </a:cubicBezTo>
                  <a:cubicBezTo>
                    <a:pt x="162" y="166"/>
                    <a:pt x="162" y="166"/>
                    <a:pt x="162" y="166"/>
                  </a:cubicBezTo>
                  <a:cubicBezTo>
                    <a:pt x="163" y="174"/>
                    <a:pt x="163" y="183"/>
                    <a:pt x="163" y="192"/>
                  </a:cubicBezTo>
                  <a:close/>
                  <a:moveTo>
                    <a:pt x="128" y="104"/>
                  </a:moveTo>
                  <a:cubicBezTo>
                    <a:pt x="121" y="119"/>
                    <a:pt x="113" y="146"/>
                    <a:pt x="113" y="192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9" y="192"/>
                    <a:pt x="99" y="191"/>
                    <a:pt x="99" y="190"/>
                  </a:cubicBezTo>
                  <a:cubicBezTo>
                    <a:pt x="99" y="154"/>
                    <a:pt x="112" y="118"/>
                    <a:pt x="128" y="104"/>
                  </a:cubicBezTo>
                  <a:close/>
                  <a:moveTo>
                    <a:pt x="185" y="292"/>
                  </a:moveTo>
                  <a:cubicBezTo>
                    <a:pt x="98" y="292"/>
                    <a:pt x="98" y="292"/>
                    <a:pt x="98" y="292"/>
                  </a:cubicBezTo>
                  <a:cubicBezTo>
                    <a:pt x="54" y="292"/>
                    <a:pt x="18" y="254"/>
                    <a:pt x="12" y="204"/>
                  </a:cubicBezTo>
                  <a:cubicBezTo>
                    <a:pt x="168" y="204"/>
                    <a:pt x="168" y="204"/>
                    <a:pt x="168" y="204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0" y="204"/>
                    <a:pt x="170" y="204"/>
                  </a:cubicBezTo>
                  <a:cubicBezTo>
                    <a:pt x="271" y="204"/>
                    <a:pt x="271" y="204"/>
                    <a:pt x="271" y="204"/>
                  </a:cubicBezTo>
                  <a:cubicBezTo>
                    <a:pt x="265" y="254"/>
                    <a:pt x="229" y="292"/>
                    <a:pt x="185" y="29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grpSp>
          <p:nvGrpSpPr>
            <p:cNvPr id="41" name="Group 45">
              <a:extLst>
                <a:ext uri="{FF2B5EF4-FFF2-40B4-BE49-F238E27FC236}">
                  <a16:creationId xmlns:a16="http://schemas.microsoft.com/office/drawing/2014/main" id="{CE8B0195-4470-464D-AD6C-56F512D23A6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469909" y="5308748"/>
              <a:ext cx="415925" cy="666750"/>
              <a:chOff x="8031163" y="1177925"/>
              <a:chExt cx="415925" cy="666750"/>
            </a:xfrm>
          </p:grpSpPr>
          <p:sp>
            <p:nvSpPr>
              <p:cNvPr id="46" name="Freeform 193">
                <a:extLst>
                  <a:ext uri="{FF2B5EF4-FFF2-40B4-BE49-F238E27FC236}">
                    <a16:creationId xmlns:a16="http://schemas.microsoft.com/office/drawing/2014/main" id="{8C168F6C-1273-4112-912A-F1D07FB1EF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30644" y="1708261"/>
                <a:ext cx="115837" cy="136489"/>
              </a:xfrm>
              <a:custGeom>
                <a:avLst/>
                <a:gdLst>
                  <a:gd name="T0" fmla="*/ 35 w 62"/>
                  <a:gd name="T1" fmla="*/ 0 h 72"/>
                  <a:gd name="T2" fmla="*/ 26 w 62"/>
                  <a:gd name="T3" fmla="*/ 16 h 72"/>
                  <a:gd name="T4" fmla="*/ 20 w 62"/>
                  <a:gd name="T5" fmla="*/ 63 h 72"/>
                  <a:gd name="T6" fmla="*/ 52 w 62"/>
                  <a:gd name="T7" fmla="*/ 61 h 72"/>
                  <a:gd name="T8" fmla="*/ 44 w 62"/>
                  <a:gd name="T9" fmla="*/ 17 h 72"/>
                  <a:gd name="T10" fmla="*/ 35 w 62"/>
                  <a:gd name="T11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72">
                    <a:moveTo>
                      <a:pt x="35" y="0"/>
                    </a:moveTo>
                    <a:cubicBezTo>
                      <a:pt x="35" y="0"/>
                      <a:pt x="31" y="10"/>
                      <a:pt x="26" y="16"/>
                    </a:cubicBezTo>
                    <a:cubicBezTo>
                      <a:pt x="21" y="22"/>
                      <a:pt x="0" y="45"/>
                      <a:pt x="20" y="63"/>
                    </a:cubicBezTo>
                    <a:cubicBezTo>
                      <a:pt x="30" y="72"/>
                      <a:pt x="45" y="71"/>
                      <a:pt x="52" y="61"/>
                    </a:cubicBezTo>
                    <a:cubicBezTo>
                      <a:pt x="60" y="52"/>
                      <a:pt x="62" y="36"/>
                      <a:pt x="44" y="17"/>
                    </a:cubicBezTo>
                    <a:cubicBezTo>
                      <a:pt x="38" y="10"/>
                      <a:pt x="35" y="0"/>
                      <a:pt x="35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47" name="Freeform 194">
                <a:extLst>
                  <a:ext uri="{FF2B5EF4-FFF2-40B4-BE49-F238E27FC236}">
                    <a16:creationId xmlns:a16="http://schemas.microsoft.com/office/drawing/2014/main" id="{674BA3D8-2DBB-447E-B506-23B337B4B1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30644" y="1178175"/>
                <a:ext cx="415742" cy="503105"/>
              </a:xfrm>
              <a:custGeom>
                <a:avLst/>
                <a:gdLst>
                  <a:gd name="T0" fmla="*/ 206 w 220"/>
                  <a:gd name="T1" fmla="*/ 86 h 266"/>
                  <a:gd name="T2" fmla="*/ 158 w 220"/>
                  <a:gd name="T3" fmla="*/ 86 h 266"/>
                  <a:gd name="T4" fmla="*/ 126 w 220"/>
                  <a:gd name="T5" fmla="*/ 55 h 266"/>
                  <a:gd name="T6" fmla="*/ 126 w 220"/>
                  <a:gd name="T7" fmla="*/ 49 h 266"/>
                  <a:gd name="T8" fmla="*/ 137 w 220"/>
                  <a:gd name="T9" fmla="*/ 49 h 266"/>
                  <a:gd name="T10" fmla="*/ 156 w 220"/>
                  <a:gd name="T11" fmla="*/ 30 h 266"/>
                  <a:gd name="T12" fmla="*/ 137 w 220"/>
                  <a:gd name="T13" fmla="*/ 11 h 266"/>
                  <a:gd name="T14" fmla="*/ 125 w 220"/>
                  <a:gd name="T15" fmla="*/ 11 h 266"/>
                  <a:gd name="T16" fmla="*/ 109 w 220"/>
                  <a:gd name="T17" fmla="*/ 0 h 266"/>
                  <a:gd name="T18" fmla="*/ 93 w 220"/>
                  <a:gd name="T19" fmla="*/ 11 h 266"/>
                  <a:gd name="T20" fmla="*/ 81 w 220"/>
                  <a:gd name="T21" fmla="*/ 11 h 266"/>
                  <a:gd name="T22" fmla="*/ 62 w 220"/>
                  <a:gd name="T23" fmla="*/ 30 h 266"/>
                  <a:gd name="T24" fmla="*/ 81 w 220"/>
                  <a:gd name="T25" fmla="*/ 49 h 266"/>
                  <a:gd name="T26" fmla="*/ 92 w 220"/>
                  <a:gd name="T27" fmla="*/ 49 h 266"/>
                  <a:gd name="T28" fmla="*/ 92 w 220"/>
                  <a:gd name="T29" fmla="*/ 55 h 266"/>
                  <a:gd name="T30" fmla="*/ 58 w 220"/>
                  <a:gd name="T31" fmla="*/ 92 h 266"/>
                  <a:gd name="T32" fmla="*/ 0 w 220"/>
                  <a:gd name="T33" fmla="*/ 160 h 266"/>
                  <a:gd name="T34" fmla="*/ 0 w 220"/>
                  <a:gd name="T35" fmla="*/ 167 h 266"/>
                  <a:gd name="T36" fmla="*/ 0 w 220"/>
                  <a:gd name="T37" fmla="*/ 246 h 266"/>
                  <a:gd name="T38" fmla="*/ 20 w 220"/>
                  <a:gd name="T39" fmla="*/ 266 h 266"/>
                  <a:gd name="T40" fmla="*/ 50 w 220"/>
                  <a:gd name="T41" fmla="*/ 266 h 266"/>
                  <a:gd name="T42" fmla="*/ 70 w 220"/>
                  <a:gd name="T43" fmla="*/ 246 h 266"/>
                  <a:gd name="T44" fmla="*/ 70 w 220"/>
                  <a:gd name="T45" fmla="*/ 190 h 266"/>
                  <a:gd name="T46" fmla="*/ 70 w 220"/>
                  <a:gd name="T47" fmla="*/ 189 h 266"/>
                  <a:gd name="T48" fmla="*/ 102 w 220"/>
                  <a:gd name="T49" fmla="*/ 177 h 266"/>
                  <a:gd name="T50" fmla="*/ 206 w 220"/>
                  <a:gd name="T51" fmla="*/ 177 h 266"/>
                  <a:gd name="T52" fmla="*/ 220 w 220"/>
                  <a:gd name="T53" fmla="*/ 157 h 266"/>
                  <a:gd name="T54" fmla="*/ 220 w 220"/>
                  <a:gd name="T55" fmla="*/ 105 h 266"/>
                  <a:gd name="T56" fmla="*/ 206 w 220"/>
                  <a:gd name="T57" fmla="*/ 86 h 266"/>
                  <a:gd name="T58" fmla="*/ 82 w 220"/>
                  <a:gd name="T59" fmla="*/ 39 h 266"/>
                  <a:gd name="T60" fmla="*/ 72 w 220"/>
                  <a:gd name="T61" fmla="*/ 30 h 266"/>
                  <a:gd name="T62" fmla="*/ 82 w 220"/>
                  <a:gd name="T63" fmla="*/ 20 h 266"/>
                  <a:gd name="T64" fmla="*/ 136 w 220"/>
                  <a:gd name="T65" fmla="*/ 20 h 266"/>
                  <a:gd name="T66" fmla="*/ 146 w 220"/>
                  <a:gd name="T67" fmla="*/ 30 h 266"/>
                  <a:gd name="T68" fmla="*/ 136 w 220"/>
                  <a:gd name="T69" fmla="*/ 39 h 266"/>
                  <a:gd name="T70" fmla="*/ 82 w 220"/>
                  <a:gd name="T71" fmla="*/ 39 h 266"/>
                  <a:gd name="T72" fmla="*/ 100 w 220"/>
                  <a:gd name="T73" fmla="*/ 67 h 266"/>
                  <a:gd name="T74" fmla="*/ 106 w 220"/>
                  <a:gd name="T75" fmla="*/ 65 h 266"/>
                  <a:gd name="T76" fmla="*/ 106 w 220"/>
                  <a:gd name="T77" fmla="*/ 49 h 266"/>
                  <a:gd name="T78" fmla="*/ 113 w 220"/>
                  <a:gd name="T79" fmla="*/ 49 h 266"/>
                  <a:gd name="T80" fmla="*/ 113 w 220"/>
                  <a:gd name="T81" fmla="*/ 65 h 266"/>
                  <a:gd name="T82" fmla="*/ 118 w 220"/>
                  <a:gd name="T83" fmla="*/ 67 h 266"/>
                  <a:gd name="T84" fmla="*/ 146 w 220"/>
                  <a:gd name="T85" fmla="*/ 92 h 266"/>
                  <a:gd name="T86" fmla="*/ 108 w 220"/>
                  <a:gd name="T87" fmla="*/ 96 h 266"/>
                  <a:gd name="T88" fmla="*/ 72 w 220"/>
                  <a:gd name="T89" fmla="*/ 93 h 266"/>
                  <a:gd name="T90" fmla="*/ 100 w 220"/>
                  <a:gd name="T91" fmla="*/ 67 h 266"/>
                  <a:gd name="T92" fmla="*/ 206 w 220"/>
                  <a:gd name="T93" fmla="*/ 157 h 266"/>
                  <a:gd name="T94" fmla="*/ 205 w 220"/>
                  <a:gd name="T95" fmla="*/ 163 h 266"/>
                  <a:gd name="T96" fmla="*/ 102 w 220"/>
                  <a:gd name="T97" fmla="*/ 163 h 266"/>
                  <a:gd name="T98" fmla="*/ 57 w 220"/>
                  <a:gd name="T99" fmla="*/ 182 h 266"/>
                  <a:gd name="T100" fmla="*/ 56 w 220"/>
                  <a:gd name="T101" fmla="*/ 183 h 266"/>
                  <a:gd name="T102" fmla="*/ 56 w 220"/>
                  <a:gd name="T103" fmla="*/ 246 h 266"/>
                  <a:gd name="T104" fmla="*/ 50 w 220"/>
                  <a:gd name="T105" fmla="*/ 253 h 266"/>
                  <a:gd name="T106" fmla="*/ 20 w 220"/>
                  <a:gd name="T107" fmla="*/ 253 h 266"/>
                  <a:gd name="T108" fmla="*/ 14 w 220"/>
                  <a:gd name="T109" fmla="*/ 246 h 266"/>
                  <a:gd name="T110" fmla="*/ 14 w 220"/>
                  <a:gd name="T111" fmla="*/ 160 h 266"/>
                  <a:gd name="T112" fmla="*/ 66 w 220"/>
                  <a:gd name="T113" fmla="*/ 104 h 266"/>
                  <a:gd name="T114" fmla="*/ 67 w 220"/>
                  <a:gd name="T115" fmla="*/ 103 h 266"/>
                  <a:gd name="T116" fmla="*/ 110 w 220"/>
                  <a:gd name="T117" fmla="*/ 108 h 266"/>
                  <a:gd name="T118" fmla="*/ 159 w 220"/>
                  <a:gd name="T119" fmla="*/ 99 h 266"/>
                  <a:gd name="T120" fmla="*/ 205 w 220"/>
                  <a:gd name="T121" fmla="*/ 99 h 266"/>
                  <a:gd name="T122" fmla="*/ 206 w 220"/>
                  <a:gd name="T123" fmla="*/ 105 h 266"/>
                  <a:gd name="T124" fmla="*/ 206 w 220"/>
                  <a:gd name="T125" fmla="*/ 157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20" h="266">
                    <a:moveTo>
                      <a:pt x="206" y="86"/>
                    </a:moveTo>
                    <a:cubicBezTo>
                      <a:pt x="158" y="86"/>
                      <a:pt x="158" y="86"/>
                      <a:pt x="158" y="86"/>
                    </a:cubicBezTo>
                    <a:cubicBezTo>
                      <a:pt x="153" y="71"/>
                      <a:pt x="141" y="60"/>
                      <a:pt x="126" y="55"/>
                    </a:cubicBezTo>
                    <a:cubicBezTo>
                      <a:pt x="126" y="49"/>
                      <a:pt x="126" y="49"/>
                      <a:pt x="126" y="49"/>
                    </a:cubicBezTo>
                    <a:cubicBezTo>
                      <a:pt x="137" y="49"/>
                      <a:pt x="137" y="49"/>
                      <a:pt x="137" y="49"/>
                    </a:cubicBezTo>
                    <a:cubicBezTo>
                      <a:pt x="148" y="49"/>
                      <a:pt x="156" y="41"/>
                      <a:pt x="156" y="30"/>
                    </a:cubicBezTo>
                    <a:cubicBezTo>
                      <a:pt x="156" y="20"/>
                      <a:pt x="148" y="11"/>
                      <a:pt x="137" y="11"/>
                    </a:cubicBezTo>
                    <a:cubicBezTo>
                      <a:pt x="125" y="11"/>
                      <a:pt x="125" y="11"/>
                      <a:pt x="125" y="11"/>
                    </a:cubicBezTo>
                    <a:cubicBezTo>
                      <a:pt x="123" y="5"/>
                      <a:pt x="116" y="0"/>
                      <a:pt x="109" y="0"/>
                    </a:cubicBezTo>
                    <a:cubicBezTo>
                      <a:pt x="102" y="0"/>
                      <a:pt x="96" y="5"/>
                      <a:pt x="93" y="11"/>
                    </a:cubicBezTo>
                    <a:cubicBezTo>
                      <a:pt x="81" y="11"/>
                      <a:pt x="81" y="11"/>
                      <a:pt x="81" y="11"/>
                    </a:cubicBezTo>
                    <a:cubicBezTo>
                      <a:pt x="71" y="11"/>
                      <a:pt x="62" y="20"/>
                      <a:pt x="62" y="30"/>
                    </a:cubicBezTo>
                    <a:cubicBezTo>
                      <a:pt x="62" y="41"/>
                      <a:pt x="71" y="49"/>
                      <a:pt x="81" y="49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2" y="55"/>
                      <a:pt x="92" y="55"/>
                      <a:pt x="92" y="55"/>
                    </a:cubicBezTo>
                    <a:cubicBezTo>
                      <a:pt x="75" y="61"/>
                      <a:pt x="63" y="74"/>
                      <a:pt x="58" y="92"/>
                    </a:cubicBezTo>
                    <a:cubicBezTo>
                      <a:pt x="32" y="99"/>
                      <a:pt x="1" y="117"/>
                      <a:pt x="0" y="160"/>
                    </a:cubicBezTo>
                    <a:cubicBezTo>
                      <a:pt x="0" y="162"/>
                      <a:pt x="0" y="165"/>
                      <a:pt x="0" y="167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257"/>
                      <a:pt x="9" y="266"/>
                      <a:pt x="20" y="266"/>
                    </a:cubicBezTo>
                    <a:cubicBezTo>
                      <a:pt x="50" y="266"/>
                      <a:pt x="50" y="266"/>
                      <a:pt x="50" y="266"/>
                    </a:cubicBezTo>
                    <a:cubicBezTo>
                      <a:pt x="61" y="266"/>
                      <a:pt x="70" y="257"/>
                      <a:pt x="70" y="246"/>
                    </a:cubicBezTo>
                    <a:cubicBezTo>
                      <a:pt x="70" y="190"/>
                      <a:pt x="70" y="190"/>
                      <a:pt x="70" y="190"/>
                    </a:cubicBezTo>
                    <a:cubicBezTo>
                      <a:pt x="70" y="189"/>
                      <a:pt x="70" y="189"/>
                      <a:pt x="70" y="189"/>
                    </a:cubicBezTo>
                    <a:cubicBezTo>
                      <a:pt x="71" y="189"/>
                      <a:pt x="81" y="177"/>
                      <a:pt x="102" y="177"/>
                    </a:cubicBezTo>
                    <a:cubicBezTo>
                      <a:pt x="206" y="177"/>
                      <a:pt x="206" y="177"/>
                      <a:pt x="206" y="177"/>
                    </a:cubicBezTo>
                    <a:cubicBezTo>
                      <a:pt x="214" y="177"/>
                      <a:pt x="220" y="168"/>
                      <a:pt x="220" y="157"/>
                    </a:cubicBezTo>
                    <a:cubicBezTo>
                      <a:pt x="220" y="105"/>
                      <a:pt x="220" y="105"/>
                      <a:pt x="220" y="105"/>
                    </a:cubicBezTo>
                    <a:cubicBezTo>
                      <a:pt x="220" y="94"/>
                      <a:pt x="214" y="86"/>
                      <a:pt x="206" y="86"/>
                    </a:cubicBezTo>
                    <a:close/>
                    <a:moveTo>
                      <a:pt x="82" y="39"/>
                    </a:moveTo>
                    <a:cubicBezTo>
                      <a:pt x="77" y="39"/>
                      <a:pt x="72" y="35"/>
                      <a:pt x="72" y="30"/>
                    </a:cubicBezTo>
                    <a:cubicBezTo>
                      <a:pt x="72" y="24"/>
                      <a:pt x="77" y="20"/>
                      <a:pt x="82" y="20"/>
                    </a:cubicBezTo>
                    <a:cubicBezTo>
                      <a:pt x="136" y="20"/>
                      <a:pt x="136" y="20"/>
                      <a:pt x="136" y="20"/>
                    </a:cubicBezTo>
                    <a:cubicBezTo>
                      <a:pt x="142" y="20"/>
                      <a:pt x="146" y="24"/>
                      <a:pt x="146" y="30"/>
                    </a:cubicBezTo>
                    <a:cubicBezTo>
                      <a:pt x="146" y="35"/>
                      <a:pt x="142" y="39"/>
                      <a:pt x="136" y="39"/>
                    </a:cubicBezTo>
                    <a:lnTo>
                      <a:pt x="82" y="39"/>
                    </a:lnTo>
                    <a:close/>
                    <a:moveTo>
                      <a:pt x="100" y="67"/>
                    </a:moveTo>
                    <a:cubicBezTo>
                      <a:pt x="106" y="65"/>
                      <a:pt x="106" y="65"/>
                      <a:pt x="106" y="65"/>
                    </a:cubicBezTo>
                    <a:cubicBezTo>
                      <a:pt x="106" y="49"/>
                      <a:pt x="106" y="49"/>
                      <a:pt x="106" y="49"/>
                    </a:cubicBez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65"/>
                      <a:pt x="113" y="65"/>
                      <a:pt x="113" y="65"/>
                    </a:cubicBezTo>
                    <a:cubicBezTo>
                      <a:pt x="118" y="67"/>
                      <a:pt x="118" y="67"/>
                      <a:pt x="118" y="67"/>
                    </a:cubicBezTo>
                    <a:cubicBezTo>
                      <a:pt x="131" y="70"/>
                      <a:pt x="141" y="79"/>
                      <a:pt x="146" y="92"/>
                    </a:cubicBezTo>
                    <a:cubicBezTo>
                      <a:pt x="134" y="95"/>
                      <a:pt x="122" y="96"/>
                      <a:pt x="108" y="96"/>
                    </a:cubicBezTo>
                    <a:cubicBezTo>
                      <a:pt x="92" y="96"/>
                      <a:pt x="79" y="94"/>
                      <a:pt x="72" y="93"/>
                    </a:cubicBezTo>
                    <a:cubicBezTo>
                      <a:pt x="76" y="80"/>
                      <a:pt x="87" y="70"/>
                      <a:pt x="100" y="67"/>
                    </a:cubicBezTo>
                    <a:close/>
                    <a:moveTo>
                      <a:pt x="206" y="157"/>
                    </a:moveTo>
                    <a:cubicBezTo>
                      <a:pt x="206" y="160"/>
                      <a:pt x="205" y="162"/>
                      <a:pt x="205" y="163"/>
                    </a:cubicBezTo>
                    <a:cubicBezTo>
                      <a:pt x="102" y="163"/>
                      <a:pt x="102" y="163"/>
                      <a:pt x="102" y="163"/>
                    </a:cubicBezTo>
                    <a:cubicBezTo>
                      <a:pt x="73" y="163"/>
                      <a:pt x="58" y="181"/>
                      <a:pt x="57" y="182"/>
                    </a:cubicBezTo>
                    <a:cubicBezTo>
                      <a:pt x="56" y="183"/>
                      <a:pt x="56" y="183"/>
                      <a:pt x="56" y="183"/>
                    </a:cubicBezTo>
                    <a:cubicBezTo>
                      <a:pt x="56" y="246"/>
                      <a:pt x="56" y="246"/>
                      <a:pt x="56" y="246"/>
                    </a:cubicBezTo>
                    <a:cubicBezTo>
                      <a:pt x="56" y="250"/>
                      <a:pt x="54" y="253"/>
                      <a:pt x="50" y="253"/>
                    </a:cubicBezTo>
                    <a:cubicBezTo>
                      <a:pt x="20" y="253"/>
                      <a:pt x="20" y="253"/>
                      <a:pt x="20" y="253"/>
                    </a:cubicBezTo>
                    <a:cubicBezTo>
                      <a:pt x="17" y="253"/>
                      <a:pt x="14" y="250"/>
                      <a:pt x="14" y="246"/>
                    </a:cubicBezTo>
                    <a:cubicBezTo>
                      <a:pt x="14" y="217"/>
                      <a:pt x="14" y="162"/>
                      <a:pt x="14" y="160"/>
                    </a:cubicBezTo>
                    <a:cubicBezTo>
                      <a:pt x="15" y="131"/>
                      <a:pt x="32" y="112"/>
                      <a:pt x="66" y="104"/>
                    </a:cubicBezTo>
                    <a:cubicBezTo>
                      <a:pt x="67" y="103"/>
                      <a:pt x="67" y="103"/>
                      <a:pt x="67" y="103"/>
                    </a:cubicBezTo>
                    <a:cubicBezTo>
                      <a:pt x="82" y="106"/>
                      <a:pt x="97" y="108"/>
                      <a:pt x="110" y="108"/>
                    </a:cubicBezTo>
                    <a:cubicBezTo>
                      <a:pt x="138" y="108"/>
                      <a:pt x="155" y="101"/>
                      <a:pt x="159" y="99"/>
                    </a:cubicBezTo>
                    <a:cubicBezTo>
                      <a:pt x="205" y="99"/>
                      <a:pt x="205" y="99"/>
                      <a:pt x="205" y="99"/>
                    </a:cubicBezTo>
                    <a:cubicBezTo>
                      <a:pt x="205" y="100"/>
                      <a:pt x="206" y="102"/>
                      <a:pt x="206" y="105"/>
                    </a:cubicBezTo>
                    <a:lnTo>
                      <a:pt x="206" y="157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</p:grpSp>
        <p:sp>
          <p:nvSpPr>
            <p:cNvPr id="42" name="Content Placeholder 2">
              <a:extLst>
                <a:ext uri="{FF2B5EF4-FFF2-40B4-BE49-F238E27FC236}">
                  <a16:creationId xmlns:a16="http://schemas.microsoft.com/office/drawing/2014/main" id="{21C03933-E325-494A-A714-3AE7306A234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084294" y="2401463"/>
              <a:ext cx="1931813" cy="849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chemeClr val="tx2"/>
                  </a:solidFill>
                </a:rPr>
                <a:t>Clever &amp; Intellegence</a:t>
              </a:r>
              <a:r>
                <a:rPr lang="en-US" altLang="zh-CN" sz="1400" b="1">
                  <a:solidFill>
                    <a:schemeClr val="tx2"/>
                  </a:solidFill>
                </a:rPr>
                <a:t/>
              </a:r>
              <a:br>
                <a:rPr lang="en-US" altLang="zh-CN" sz="1400" b="1">
                  <a:solidFill>
                    <a:schemeClr val="tx2"/>
                  </a:solidFill>
                </a:rPr>
              </a:br>
              <a:r>
                <a:rPr lang="en-US" altLang="zh-CN" sz="1100">
                  <a:solidFill>
                    <a:schemeClr val="tx2"/>
                  </a:solidFill>
                </a:rPr>
                <a:t>Lorem ipsum dolor sit amet, consectetur adipiscing elit. </a:t>
              </a:r>
            </a:p>
          </p:txBody>
        </p:sp>
        <p:sp>
          <p:nvSpPr>
            <p:cNvPr id="43" name="Content Placeholder 2">
              <a:extLst>
                <a:ext uri="{FF2B5EF4-FFF2-40B4-BE49-F238E27FC236}">
                  <a16:creationId xmlns:a16="http://schemas.microsoft.com/office/drawing/2014/main" id="{A1E71F28-E519-4365-A764-2FA5ED844AA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084294" y="3393719"/>
              <a:ext cx="1931813" cy="849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chemeClr val="tx2"/>
                  </a:solidFill>
                </a:rPr>
                <a:t>Clever &amp; Intellegence</a:t>
              </a:r>
              <a:r>
                <a:rPr lang="en-US" altLang="zh-CN" sz="1400" b="1">
                  <a:solidFill>
                    <a:schemeClr val="tx2"/>
                  </a:solidFill>
                </a:rPr>
                <a:t/>
              </a:r>
              <a:br>
                <a:rPr lang="en-US" altLang="zh-CN" sz="1400" b="1">
                  <a:solidFill>
                    <a:schemeClr val="tx2"/>
                  </a:solidFill>
                </a:rPr>
              </a:br>
              <a:r>
                <a:rPr lang="en-US" altLang="zh-CN" sz="1100">
                  <a:solidFill>
                    <a:schemeClr val="tx2"/>
                  </a:solidFill>
                </a:rPr>
                <a:t>Lorem ipsum dolor sit amet, consectetur adipiscing elit. </a:t>
              </a:r>
            </a:p>
          </p:txBody>
        </p:sp>
        <p:sp>
          <p:nvSpPr>
            <p:cNvPr id="44" name="Content Placeholder 2">
              <a:extLst>
                <a:ext uri="{FF2B5EF4-FFF2-40B4-BE49-F238E27FC236}">
                  <a16:creationId xmlns:a16="http://schemas.microsoft.com/office/drawing/2014/main" id="{B9EFA78B-E73B-4D53-86D9-CDF190334E8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082348" y="4383802"/>
              <a:ext cx="1931813" cy="849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chemeClr val="tx2"/>
                  </a:solidFill>
                </a:rPr>
                <a:t>Clever &amp; Intellegence</a:t>
              </a:r>
              <a:r>
                <a:rPr lang="en-US" altLang="zh-CN" sz="1400" b="1">
                  <a:solidFill>
                    <a:schemeClr val="tx2"/>
                  </a:solidFill>
                </a:rPr>
                <a:t/>
              </a:r>
              <a:br>
                <a:rPr lang="en-US" altLang="zh-CN" sz="1400" b="1">
                  <a:solidFill>
                    <a:schemeClr val="tx2"/>
                  </a:solidFill>
                </a:rPr>
              </a:br>
              <a:r>
                <a:rPr lang="en-US" altLang="zh-CN" sz="1100">
                  <a:solidFill>
                    <a:schemeClr val="tx2"/>
                  </a:solidFill>
                </a:rPr>
                <a:t>Lorem ipsum dolor sit amet, consectetur adipiscing elit. </a:t>
              </a:r>
            </a:p>
          </p:txBody>
        </p:sp>
        <p:sp>
          <p:nvSpPr>
            <p:cNvPr id="45" name="Content Placeholder 2">
              <a:extLst>
                <a:ext uri="{FF2B5EF4-FFF2-40B4-BE49-F238E27FC236}">
                  <a16:creationId xmlns:a16="http://schemas.microsoft.com/office/drawing/2014/main" id="{36ECED09-0BF1-4B4D-8471-0DAD4334C81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103434" y="5332673"/>
              <a:ext cx="1931813" cy="849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chemeClr val="tx2"/>
                  </a:solidFill>
                </a:rPr>
                <a:t>Clever &amp; Intellegence</a:t>
              </a:r>
              <a:r>
                <a:rPr lang="en-US" altLang="zh-CN" sz="1400" b="1">
                  <a:solidFill>
                    <a:schemeClr val="tx2"/>
                  </a:solidFill>
                </a:rPr>
                <a:t/>
              </a:r>
              <a:br>
                <a:rPr lang="en-US" altLang="zh-CN" sz="1400" b="1">
                  <a:solidFill>
                    <a:schemeClr val="tx2"/>
                  </a:solidFill>
                </a:rPr>
              </a:br>
              <a:r>
                <a:rPr lang="en-US" altLang="zh-CN" sz="1100">
                  <a:solidFill>
                    <a:schemeClr val="tx2"/>
                  </a:solidFill>
                </a:rPr>
                <a:t>Lorem ipsum dolor sit amet, consectetur adipiscing elit. </a:t>
              </a:r>
            </a:p>
          </p:txBody>
        </p:sp>
      </p:grpSp>
      <p:grpSp>
        <p:nvGrpSpPr>
          <p:cNvPr id="50" name="Group 54">
            <a:extLst>
              <a:ext uri="{FF2B5EF4-FFF2-40B4-BE49-F238E27FC236}">
                <a16:creationId xmlns:a16="http://schemas.microsoft.com/office/drawing/2014/main" id="{333C6DA2-4ADA-4112-8CBB-57DD8F46F328}"/>
              </a:ext>
            </a:extLst>
          </p:cNvPr>
          <p:cNvGrpSpPr>
            <a:grpSpLocks/>
          </p:cNvGrpSpPr>
          <p:nvPr/>
        </p:nvGrpSpPr>
        <p:grpSpPr bwMode="auto">
          <a:xfrm>
            <a:off x="612774" y="1797844"/>
            <a:ext cx="2754313" cy="3781425"/>
            <a:chOff x="871402" y="2401463"/>
            <a:chExt cx="2755479" cy="3780430"/>
          </a:xfrm>
        </p:grpSpPr>
        <p:sp>
          <p:nvSpPr>
            <p:cNvPr id="51" name="Freeform 127">
              <a:extLst>
                <a:ext uri="{FF2B5EF4-FFF2-40B4-BE49-F238E27FC236}">
                  <a16:creationId xmlns:a16="http://schemas.microsoft.com/office/drawing/2014/main" id="{7A8A4722-8788-4AF9-B206-B31E8703EA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5019" y="2476055"/>
              <a:ext cx="489157" cy="582460"/>
            </a:xfrm>
            <a:custGeom>
              <a:avLst/>
              <a:gdLst>
                <a:gd name="T0" fmla="*/ 237 w 259"/>
                <a:gd name="T1" fmla="*/ 79 h 308"/>
                <a:gd name="T2" fmla="*/ 234 w 259"/>
                <a:gd name="T3" fmla="*/ 123 h 308"/>
                <a:gd name="T4" fmla="*/ 213 w 259"/>
                <a:gd name="T5" fmla="*/ 132 h 308"/>
                <a:gd name="T6" fmla="*/ 209 w 259"/>
                <a:gd name="T7" fmla="*/ 126 h 308"/>
                <a:gd name="T8" fmla="*/ 142 w 259"/>
                <a:gd name="T9" fmla="*/ 100 h 308"/>
                <a:gd name="T10" fmla="*/ 212 w 259"/>
                <a:gd name="T11" fmla="*/ 50 h 308"/>
                <a:gd name="T12" fmla="*/ 95 w 259"/>
                <a:gd name="T13" fmla="*/ 0 h 308"/>
                <a:gd name="T14" fmla="*/ 95 w 259"/>
                <a:gd name="T15" fmla="*/ 100 h 308"/>
                <a:gd name="T16" fmla="*/ 114 w 259"/>
                <a:gd name="T17" fmla="*/ 115 h 308"/>
                <a:gd name="T18" fmla="*/ 49 w 259"/>
                <a:gd name="T19" fmla="*/ 132 h 308"/>
                <a:gd name="T20" fmla="*/ 27 w 259"/>
                <a:gd name="T21" fmla="*/ 123 h 308"/>
                <a:gd name="T22" fmla="*/ 22 w 259"/>
                <a:gd name="T23" fmla="*/ 79 h 308"/>
                <a:gd name="T24" fmla="*/ 16 w 259"/>
                <a:gd name="T25" fmla="*/ 122 h 308"/>
                <a:gd name="T26" fmla="*/ 49 w 259"/>
                <a:gd name="T27" fmla="*/ 159 h 308"/>
                <a:gd name="T28" fmla="*/ 109 w 259"/>
                <a:gd name="T29" fmla="*/ 165 h 308"/>
                <a:gd name="T30" fmla="*/ 58 w 259"/>
                <a:gd name="T31" fmla="*/ 241 h 308"/>
                <a:gd name="T32" fmla="*/ 58 w 259"/>
                <a:gd name="T33" fmla="*/ 279 h 308"/>
                <a:gd name="T34" fmla="*/ 53 w 259"/>
                <a:gd name="T35" fmla="*/ 290 h 308"/>
                <a:gd name="T36" fmla="*/ 88 w 259"/>
                <a:gd name="T37" fmla="*/ 290 h 308"/>
                <a:gd name="T38" fmla="*/ 176 w 259"/>
                <a:gd name="T39" fmla="*/ 279 h 308"/>
                <a:gd name="T40" fmla="*/ 189 w 259"/>
                <a:gd name="T41" fmla="*/ 308 h 308"/>
                <a:gd name="T42" fmla="*/ 201 w 259"/>
                <a:gd name="T43" fmla="*/ 278 h 308"/>
                <a:gd name="T44" fmla="*/ 198 w 259"/>
                <a:gd name="T45" fmla="*/ 241 h 308"/>
                <a:gd name="T46" fmla="*/ 147 w 259"/>
                <a:gd name="T47" fmla="*/ 165 h 308"/>
                <a:gd name="T48" fmla="*/ 213 w 259"/>
                <a:gd name="T49" fmla="*/ 159 h 308"/>
                <a:gd name="T50" fmla="*/ 246 w 259"/>
                <a:gd name="T51" fmla="*/ 121 h 308"/>
                <a:gd name="T52" fmla="*/ 12 w 259"/>
                <a:gd name="T53" fmla="*/ 101 h 308"/>
                <a:gd name="T54" fmla="*/ 33 w 259"/>
                <a:gd name="T55" fmla="*/ 101 h 308"/>
                <a:gd name="T56" fmla="*/ 12 w 259"/>
                <a:gd name="T57" fmla="*/ 101 h 308"/>
                <a:gd name="T58" fmla="*/ 61 w 259"/>
                <a:gd name="T59" fmla="*/ 290 h 308"/>
                <a:gd name="T60" fmla="*/ 80 w 259"/>
                <a:gd name="T61" fmla="*/ 290 h 308"/>
                <a:gd name="T62" fmla="*/ 56 w 259"/>
                <a:gd name="T63" fmla="*/ 50 h 308"/>
                <a:gd name="T64" fmla="*/ 162 w 259"/>
                <a:gd name="T65" fmla="*/ 11 h 308"/>
                <a:gd name="T66" fmla="*/ 162 w 259"/>
                <a:gd name="T67" fmla="*/ 88 h 308"/>
                <a:gd name="T68" fmla="*/ 56 w 259"/>
                <a:gd name="T69" fmla="*/ 50 h 308"/>
                <a:gd name="T70" fmla="*/ 179 w 259"/>
                <a:gd name="T71" fmla="*/ 290 h 308"/>
                <a:gd name="T72" fmla="*/ 199 w 259"/>
                <a:gd name="T73" fmla="*/ 290 h 308"/>
                <a:gd name="T74" fmla="*/ 207 w 259"/>
                <a:gd name="T75" fmla="*/ 260 h 308"/>
                <a:gd name="T76" fmla="*/ 58 w 259"/>
                <a:gd name="T77" fmla="*/ 268 h 308"/>
                <a:gd name="T78" fmla="*/ 58 w 259"/>
                <a:gd name="T79" fmla="*/ 251 h 308"/>
                <a:gd name="T80" fmla="*/ 207 w 259"/>
                <a:gd name="T81" fmla="*/ 260 h 308"/>
                <a:gd name="T82" fmla="*/ 121 w 259"/>
                <a:gd name="T83" fmla="*/ 241 h 308"/>
                <a:gd name="T84" fmla="*/ 136 w 259"/>
                <a:gd name="T85" fmla="*/ 165 h 308"/>
                <a:gd name="T86" fmla="*/ 201 w 259"/>
                <a:gd name="T87" fmla="*/ 153 h 308"/>
                <a:gd name="T88" fmla="*/ 61 w 259"/>
                <a:gd name="T89" fmla="*/ 138 h 308"/>
                <a:gd name="T90" fmla="*/ 201 w 259"/>
                <a:gd name="T91" fmla="*/ 153 h 308"/>
                <a:gd name="T92" fmla="*/ 226 w 259"/>
                <a:gd name="T93" fmla="*/ 101 h 308"/>
                <a:gd name="T94" fmla="*/ 247 w 259"/>
                <a:gd name="T95" fmla="*/ 101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9" h="308">
                  <a:moveTo>
                    <a:pt x="259" y="101"/>
                  </a:moveTo>
                  <a:cubicBezTo>
                    <a:pt x="259" y="89"/>
                    <a:pt x="249" y="79"/>
                    <a:pt x="237" y="79"/>
                  </a:cubicBezTo>
                  <a:cubicBezTo>
                    <a:pt x="225" y="79"/>
                    <a:pt x="215" y="89"/>
                    <a:pt x="215" y="101"/>
                  </a:cubicBezTo>
                  <a:cubicBezTo>
                    <a:pt x="215" y="112"/>
                    <a:pt x="223" y="122"/>
                    <a:pt x="234" y="123"/>
                  </a:cubicBezTo>
                  <a:cubicBezTo>
                    <a:pt x="232" y="129"/>
                    <a:pt x="227" y="138"/>
                    <a:pt x="213" y="141"/>
                  </a:cubicBezTo>
                  <a:cubicBezTo>
                    <a:pt x="213" y="132"/>
                    <a:pt x="213" y="132"/>
                    <a:pt x="213" y="132"/>
                  </a:cubicBezTo>
                  <a:cubicBezTo>
                    <a:pt x="213" y="129"/>
                    <a:pt x="211" y="127"/>
                    <a:pt x="209" y="126"/>
                  </a:cubicBezTo>
                  <a:cubicBezTo>
                    <a:pt x="209" y="126"/>
                    <a:pt x="209" y="126"/>
                    <a:pt x="209" y="126"/>
                  </a:cubicBezTo>
                  <a:cubicBezTo>
                    <a:pt x="196" y="120"/>
                    <a:pt x="160" y="117"/>
                    <a:pt x="142" y="115"/>
                  </a:cubicBezTo>
                  <a:cubicBezTo>
                    <a:pt x="142" y="100"/>
                    <a:pt x="142" y="100"/>
                    <a:pt x="142" y="100"/>
                  </a:cubicBezTo>
                  <a:cubicBezTo>
                    <a:pt x="162" y="100"/>
                    <a:pt x="162" y="100"/>
                    <a:pt x="162" y="100"/>
                  </a:cubicBezTo>
                  <a:cubicBezTo>
                    <a:pt x="189" y="100"/>
                    <a:pt x="212" y="78"/>
                    <a:pt x="212" y="50"/>
                  </a:cubicBezTo>
                  <a:cubicBezTo>
                    <a:pt x="212" y="22"/>
                    <a:pt x="189" y="0"/>
                    <a:pt x="162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67" y="0"/>
                    <a:pt x="45" y="22"/>
                    <a:pt x="45" y="50"/>
                  </a:cubicBezTo>
                  <a:cubicBezTo>
                    <a:pt x="45" y="78"/>
                    <a:pt x="67" y="100"/>
                    <a:pt x="95" y="100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78" y="117"/>
                    <a:pt x="57" y="125"/>
                    <a:pt x="55" y="126"/>
                  </a:cubicBezTo>
                  <a:cubicBezTo>
                    <a:pt x="52" y="126"/>
                    <a:pt x="49" y="129"/>
                    <a:pt x="49" y="132"/>
                  </a:cubicBezTo>
                  <a:cubicBezTo>
                    <a:pt x="49" y="142"/>
                    <a:pt x="49" y="142"/>
                    <a:pt x="49" y="142"/>
                  </a:cubicBezTo>
                  <a:cubicBezTo>
                    <a:pt x="35" y="138"/>
                    <a:pt x="29" y="128"/>
                    <a:pt x="27" y="123"/>
                  </a:cubicBezTo>
                  <a:cubicBezTo>
                    <a:pt x="37" y="121"/>
                    <a:pt x="45" y="112"/>
                    <a:pt x="45" y="101"/>
                  </a:cubicBezTo>
                  <a:cubicBezTo>
                    <a:pt x="45" y="89"/>
                    <a:pt x="35" y="79"/>
                    <a:pt x="22" y="79"/>
                  </a:cubicBezTo>
                  <a:cubicBezTo>
                    <a:pt x="10" y="79"/>
                    <a:pt x="0" y="89"/>
                    <a:pt x="0" y="101"/>
                  </a:cubicBezTo>
                  <a:cubicBezTo>
                    <a:pt x="0" y="111"/>
                    <a:pt x="7" y="119"/>
                    <a:pt x="16" y="122"/>
                  </a:cubicBezTo>
                  <a:cubicBezTo>
                    <a:pt x="18" y="132"/>
                    <a:pt x="27" y="148"/>
                    <a:pt x="49" y="152"/>
                  </a:cubicBezTo>
                  <a:cubicBezTo>
                    <a:pt x="49" y="159"/>
                    <a:pt x="49" y="159"/>
                    <a:pt x="49" y="159"/>
                  </a:cubicBezTo>
                  <a:cubicBezTo>
                    <a:pt x="49" y="162"/>
                    <a:pt x="52" y="165"/>
                    <a:pt x="55" y="165"/>
                  </a:cubicBezTo>
                  <a:cubicBezTo>
                    <a:pt x="109" y="165"/>
                    <a:pt x="109" y="165"/>
                    <a:pt x="109" y="165"/>
                  </a:cubicBezTo>
                  <a:cubicBezTo>
                    <a:pt x="109" y="241"/>
                    <a:pt x="109" y="241"/>
                    <a:pt x="109" y="241"/>
                  </a:cubicBezTo>
                  <a:cubicBezTo>
                    <a:pt x="58" y="241"/>
                    <a:pt x="58" y="241"/>
                    <a:pt x="58" y="241"/>
                  </a:cubicBezTo>
                  <a:cubicBezTo>
                    <a:pt x="49" y="241"/>
                    <a:pt x="41" y="250"/>
                    <a:pt x="41" y="260"/>
                  </a:cubicBezTo>
                  <a:cubicBezTo>
                    <a:pt x="41" y="270"/>
                    <a:pt x="49" y="279"/>
                    <a:pt x="58" y="279"/>
                  </a:cubicBezTo>
                  <a:cubicBezTo>
                    <a:pt x="58" y="279"/>
                    <a:pt x="58" y="279"/>
                    <a:pt x="58" y="279"/>
                  </a:cubicBezTo>
                  <a:cubicBezTo>
                    <a:pt x="55" y="282"/>
                    <a:pt x="53" y="286"/>
                    <a:pt x="53" y="290"/>
                  </a:cubicBezTo>
                  <a:cubicBezTo>
                    <a:pt x="53" y="300"/>
                    <a:pt x="61" y="308"/>
                    <a:pt x="71" y="308"/>
                  </a:cubicBezTo>
                  <a:cubicBezTo>
                    <a:pt x="80" y="308"/>
                    <a:pt x="88" y="300"/>
                    <a:pt x="88" y="290"/>
                  </a:cubicBezTo>
                  <a:cubicBezTo>
                    <a:pt x="88" y="286"/>
                    <a:pt x="86" y="282"/>
                    <a:pt x="83" y="279"/>
                  </a:cubicBezTo>
                  <a:cubicBezTo>
                    <a:pt x="176" y="279"/>
                    <a:pt x="176" y="279"/>
                    <a:pt x="176" y="279"/>
                  </a:cubicBezTo>
                  <a:cubicBezTo>
                    <a:pt x="173" y="282"/>
                    <a:pt x="171" y="286"/>
                    <a:pt x="171" y="290"/>
                  </a:cubicBezTo>
                  <a:cubicBezTo>
                    <a:pt x="171" y="300"/>
                    <a:pt x="179" y="308"/>
                    <a:pt x="189" y="308"/>
                  </a:cubicBezTo>
                  <a:cubicBezTo>
                    <a:pt x="198" y="308"/>
                    <a:pt x="206" y="300"/>
                    <a:pt x="206" y="290"/>
                  </a:cubicBezTo>
                  <a:cubicBezTo>
                    <a:pt x="206" y="286"/>
                    <a:pt x="204" y="281"/>
                    <a:pt x="201" y="278"/>
                  </a:cubicBezTo>
                  <a:cubicBezTo>
                    <a:pt x="209" y="277"/>
                    <a:pt x="215" y="269"/>
                    <a:pt x="215" y="260"/>
                  </a:cubicBezTo>
                  <a:cubicBezTo>
                    <a:pt x="215" y="250"/>
                    <a:pt x="208" y="241"/>
                    <a:pt x="198" y="241"/>
                  </a:cubicBezTo>
                  <a:cubicBezTo>
                    <a:pt x="147" y="241"/>
                    <a:pt x="147" y="241"/>
                    <a:pt x="147" y="241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207" y="165"/>
                    <a:pt x="207" y="165"/>
                    <a:pt x="207" y="165"/>
                  </a:cubicBezTo>
                  <a:cubicBezTo>
                    <a:pt x="210" y="165"/>
                    <a:pt x="213" y="162"/>
                    <a:pt x="213" y="159"/>
                  </a:cubicBezTo>
                  <a:cubicBezTo>
                    <a:pt x="213" y="152"/>
                    <a:pt x="213" y="152"/>
                    <a:pt x="213" y="152"/>
                  </a:cubicBezTo>
                  <a:cubicBezTo>
                    <a:pt x="235" y="148"/>
                    <a:pt x="244" y="131"/>
                    <a:pt x="246" y="121"/>
                  </a:cubicBezTo>
                  <a:cubicBezTo>
                    <a:pt x="253" y="118"/>
                    <a:pt x="259" y="110"/>
                    <a:pt x="259" y="101"/>
                  </a:cubicBezTo>
                  <a:close/>
                  <a:moveTo>
                    <a:pt x="12" y="101"/>
                  </a:moveTo>
                  <a:cubicBezTo>
                    <a:pt x="12" y="95"/>
                    <a:pt x="16" y="90"/>
                    <a:pt x="22" y="90"/>
                  </a:cubicBezTo>
                  <a:cubicBezTo>
                    <a:pt x="28" y="90"/>
                    <a:pt x="33" y="95"/>
                    <a:pt x="33" y="101"/>
                  </a:cubicBezTo>
                  <a:cubicBezTo>
                    <a:pt x="33" y="107"/>
                    <a:pt x="28" y="112"/>
                    <a:pt x="22" y="112"/>
                  </a:cubicBezTo>
                  <a:cubicBezTo>
                    <a:pt x="16" y="112"/>
                    <a:pt x="12" y="107"/>
                    <a:pt x="12" y="101"/>
                  </a:cubicBezTo>
                  <a:close/>
                  <a:moveTo>
                    <a:pt x="71" y="300"/>
                  </a:moveTo>
                  <a:cubicBezTo>
                    <a:pt x="65" y="300"/>
                    <a:pt x="61" y="296"/>
                    <a:pt x="61" y="290"/>
                  </a:cubicBezTo>
                  <a:cubicBezTo>
                    <a:pt x="61" y="285"/>
                    <a:pt x="65" y="281"/>
                    <a:pt x="71" y="281"/>
                  </a:cubicBezTo>
                  <a:cubicBezTo>
                    <a:pt x="76" y="281"/>
                    <a:pt x="80" y="285"/>
                    <a:pt x="80" y="290"/>
                  </a:cubicBezTo>
                  <a:cubicBezTo>
                    <a:pt x="80" y="296"/>
                    <a:pt x="76" y="300"/>
                    <a:pt x="71" y="300"/>
                  </a:cubicBezTo>
                  <a:close/>
                  <a:moveTo>
                    <a:pt x="56" y="50"/>
                  </a:moveTo>
                  <a:cubicBezTo>
                    <a:pt x="56" y="29"/>
                    <a:pt x="74" y="11"/>
                    <a:pt x="95" y="11"/>
                  </a:cubicBezTo>
                  <a:cubicBezTo>
                    <a:pt x="162" y="11"/>
                    <a:pt x="162" y="11"/>
                    <a:pt x="162" y="11"/>
                  </a:cubicBezTo>
                  <a:cubicBezTo>
                    <a:pt x="183" y="11"/>
                    <a:pt x="200" y="29"/>
                    <a:pt x="200" y="50"/>
                  </a:cubicBezTo>
                  <a:cubicBezTo>
                    <a:pt x="200" y="71"/>
                    <a:pt x="183" y="88"/>
                    <a:pt x="162" y="88"/>
                  </a:cubicBezTo>
                  <a:cubicBezTo>
                    <a:pt x="95" y="88"/>
                    <a:pt x="95" y="88"/>
                    <a:pt x="95" y="88"/>
                  </a:cubicBezTo>
                  <a:cubicBezTo>
                    <a:pt x="74" y="88"/>
                    <a:pt x="56" y="71"/>
                    <a:pt x="56" y="50"/>
                  </a:cubicBezTo>
                  <a:close/>
                  <a:moveTo>
                    <a:pt x="189" y="300"/>
                  </a:moveTo>
                  <a:cubicBezTo>
                    <a:pt x="183" y="300"/>
                    <a:pt x="179" y="296"/>
                    <a:pt x="179" y="290"/>
                  </a:cubicBezTo>
                  <a:cubicBezTo>
                    <a:pt x="179" y="285"/>
                    <a:pt x="183" y="281"/>
                    <a:pt x="189" y="281"/>
                  </a:cubicBezTo>
                  <a:cubicBezTo>
                    <a:pt x="194" y="281"/>
                    <a:pt x="199" y="285"/>
                    <a:pt x="199" y="290"/>
                  </a:cubicBezTo>
                  <a:cubicBezTo>
                    <a:pt x="199" y="296"/>
                    <a:pt x="194" y="300"/>
                    <a:pt x="189" y="300"/>
                  </a:cubicBezTo>
                  <a:close/>
                  <a:moveTo>
                    <a:pt x="207" y="260"/>
                  </a:moveTo>
                  <a:cubicBezTo>
                    <a:pt x="207" y="264"/>
                    <a:pt x="203" y="268"/>
                    <a:pt x="198" y="268"/>
                  </a:cubicBezTo>
                  <a:cubicBezTo>
                    <a:pt x="58" y="268"/>
                    <a:pt x="58" y="268"/>
                    <a:pt x="58" y="268"/>
                  </a:cubicBezTo>
                  <a:cubicBezTo>
                    <a:pt x="53" y="268"/>
                    <a:pt x="49" y="264"/>
                    <a:pt x="49" y="260"/>
                  </a:cubicBezTo>
                  <a:cubicBezTo>
                    <a:pt x="49" y="255"/>
                    <a:pt x="53" y="251"/>
                    <a:pt x="58" y="251"/>
                  </a:cubicBezTo>
                  <a:cubicBezTo>
                    <a:pt x="198" y="251"/>
                    <a:pt x="198" y="251"/>
                    <a:pt x="198" y="251"/>
                  </a:cubicBezTo>
                  <a:cubicBezTo>
                    <a:pt x="203" y="251"/>
                    <a:pt x="207" y="255"/>
                    <a:pt x="207" y="260"/>
                  </a:cubicBezTo>
                  <a:close/>
                  <a:moveTo>
                    <a:pt x="136" y="241"/>
                  </a:moveTo>
                  <a:cubicBezTo>
                    <a:pt x="121" y="241"/>
                    <a:pt x="121" y="241"/>
                    <a:pt x="121" y="241"/>
                  </a:cubicBezTo>
                  <a:cubicBezTo>
                    <a:pt x="121" y="165"/>
                    <a:pt x="121" y="165"/>
                    <a:pt x="121" y="165"/>
                  </a:cubicBezTo>
                  <a:cubicBezTo>
                    <a:pt x="136" y="165"/>
                    <a:pt x="136" y="165"/>
                    <a:pt x="136" y="165"/>
                  </a:cubicBezTo>
                  <a:lnTo>
                    <a:pt x="136" y="241"/>
                  </a:lnTo>
                  <a:close/>
                  <a:moveTo>
                    <a:pt x="201" y="153"/>
                  </a:moveTo>
                  <a:cubicBezTo>
                    <a:pt x="61" y="153"/>
                    <a:pt x="61" y="153"/>
                    <a:pt x="61" y="153"/>
                  </a:cubicBezTo>
                  <a:cubicBezTo>
                    <a:pt x="61" y="138"/>
                    <a:pt x="61" y="138"/>
                    <a:pt x="61" y="138"/>
                  </a:cubicBezTo>
                  <a:cubicBezTo>
                    <a:pt x="201" y="138"/>
                    <a:pt x="201" y="138"/>
                    <a:pt x="201" y="138"/>
                  </a:cubicBezTo>
                  <a:lnTo>
                    <a:pt x="201" y="153"/>
                  </a:lnTo>
                  <a:close/>
                  <a:moveTo>
                    <a:pt x="237" y="112"/>
                  </a:moveTo>
                  <a:cubicBezTo>
                    <a:pt x="231" y="112"/>
                    <a:pt x="226" y="107"/>
                    <a:pt x="226" y="101"/>
                  </a:cubicBezTo>
                  <a:cubicBezTo>
                    <a:pt x="226" y="95"/>
                    <a:pt x="231" y="90"/>
                    <a:pt x="237" y="90"/>
                  </a:cubicBezTo>
                  <a:cubicBezTo>
                    <a:pt x="243" y="90"/>
                    <a:pt x="247" y="95"/>
                    <a:pt x="247" y="101"/>
                  </a:cubicBezTo>
                  <a:cubicBezTo>
                    <a:pt x="247" y="107"/>
                    <a:pt x="243" y="112"/>
                    <a:pt x="237" y="11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grpSp>
          <p:nvGrpSpPr>
            <p:cNvPr id="52" name="Group 56">
              <a:extLst>
                <a:ext uri="{FF2B5EF4-FFF2-40B4-BE49-F238E27FC236}">
                  <a16:creationId xmlns:a16="http://schemas.microsoft.com/office/drawing/2014/main" id="{7BA4C11B-47AF-40C1-A082-9AA3DF2303BB}"/>
                </a:ext>
              </a:extLst>
            </p:cNvPr>
            <p:cNvGrpSpPr/>
            <p:nvPr/>
          </p:nvGrpSpPr>
          <p:grpSpPr>
            <a:xfrm>
              <a:off x="3028393" y="3565949"/>
              <a:ext cx="598488" cy="277813"/>
              <a:chOff x="3917950" y="2146300"/>
              <a:chExt cx="598488" cy="277813"/>
            </a:xfrm>
            <a:solidFill>
              <a:schemeClr val="accent2"/>
            </a:solidFill>
          </p:grpSpPr>
          <p:sp>
            <p:nvSpPr>
              <p:cNvPr id="64" name="Freeform 155">
                <a:extLst>
                  <a:ext uri="{FF2B5EF4-FFF2-40B4-BE49-F238E27FC236}">
                    <a16:creationId xmlns:a16="http://schemas.microsoft.com/office/drawing/2014/main" id="{13B8B41B-AA64-4FE1-A1C0-52D1C493DD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17950" y="2146300"/>
                <a:ext cx="598488" cy="277813"/>
              </a:xfrm>
              <a:custGeom>
                <a:avLst/>
                <a:gdLst>
                  <a:gd name="T0" fmla="*/ 306 w 317"/>
                  <a:gd name="T1" fmla="*/ 49 h 147"/>
                  <a:gd name="T2" fmla="*/ 302 w 317"/>
                  <a:gd name="T3" fmla="*/ 50 h 147"/>
                  <a:gd name="T4" fmla="*/ 302 w 317"/>
                  <a:gd name="T5" fmla="*/ 44 h 147"/>
                  <a:gd name="T6" fmla="*/ 259 w 317"/>
                  <a:gd name="T7" fmla="*/ 1 h 147"/>
                  <a:gd name="T8" fmla="*/ 44 w 317"/>
                  <a:gd name="T9" fmla="*/ 0 h 147"/>
                  <a:gd name="T10" fmla="*/ 1 w 317"/>
                  <a:gd name="T11" fmla="*/ 43 h 147"/>
                  <a:gd name="T12" fmla="*/ 0 w 317"/>
                  <a:gd name="T13" fmla="*/ 104 h 147"/>
                  <a:gd name="T14" fmla="*/ 43 w 317"/>
                  <a:gd name="T15" fmla="*/ 147 h 147"/>
                  <a:gd name="T16" fmla="*/ 259 w 317"/>
                  <a:gd name="T17" fmla="*/ 147 h 147"/>
                  <a:gd name="T18" fmla="*/ 302 w 317"/>
                  <a:gd name="T19" fmla="*/ 104 h 147"/>
                  <a:gd name="T20" fmla="*/ 302 w 317"/>
                  <a:gd name="T21" fmla="*/ 99 h 147"/>
                  <a:gd name="T22" fmla="*/ 305 w 317"/>
                  <a:gd name="T23" fmla="*/ 99 h 147"/>
                  <a:gd name="T24" fmla="*/ 317 w 317"/>
                  <a:gd name="T25" fmla="*/ 89 h 147"/>
                  <a:gd name="T26" fmla="*/ 317 w 317"/>
                  <a:gd name="T27" fmla="*/ 59 h 147"/>
                  <a:gd name="T28" fmla="*/ 306 w 317"/>
                  <a:gd name="T29" fmla="*/ 49 h 147"/>
                  <a:gd name="T30" fmla="*/ 291 w 317"/>
                  <a:gd name="T31" fmla="*/ 104 h 147"/>
                  <a:gd name="T32" fmla="*/ 259 w 317"/>
                  <a:gd name="T33" fmla="*/ 136 h 147"/>
                  <a:gd name="T34" fmla="*/ 43 w 317"/>
                  <a:gd name="T35" fmla="*/ 135 h 147"/>
                  <a:gd name="T36" fmla="*/ 12 w 317"/>
                  <a:gd name="T37" fmla="*/ 104 h 147"/>
                  <a:gd name="T38" fmla="*/ 12 w 317"/>
                  <a:gd name="T39" fmla="*/ 43 h 147"/>
                  <a:gd name="T40" fmla="*/ 44 w 317"/>
                  <a:gd name="T41" fmla="*/ 12 h 147"/>
                  <a:gd name="T42" fmla="*/ 259 w 317"/>
                  <a:gd name="T43" fmla="*/ 12 h 147"/>
                  <a:gd name="T44" fmla="*/ 291 w 317"/>
                  <a:gd name="T45" fmla="*/ 44 h 147"/>
                  <a:gd name="T46" fmla="*/ 291 w 317"/>
                  <a:gd name="T47" fmla="*/ 10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7" h="147">
                    <a:moveTo>
                      <a:pt x="306" y="49"/>
                    </a:moveTo>
                    <a:cubicBezTo>
                      <a:pt x="304" y="49"/>
                      <a:pt x="303" y="49"/>
                      <a:pt x="302" y="50"/>
                    </a:cubicBezTo>
                    <a:cubicBezTo>
                      <a:pt x="302" y="44"/>
                      <a:pt x="302" y="44"/>
                      <a:pt x="302" y="44"/>
                    </a:cubicBezTo>
                    <a:cubicBezTo>
                      <a:pt x="302" y="20"/>
                      <a:pt x="283" y="1"/>
                      <a:pt x="259" y="1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20" y="0"/>
                      <a:pt x="1" y="19"/>
                      <a:pt x="1" y="43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0" y="128"/>
                      <a:pt x="20" y="147"/>
                      <a:pt x="43" y="147"/>
                    </a:cubicBezTo>
                    <a:cubicBezTo>
                      <a:pt x="259" y="147"/>
                      <a:pt x="259" y="147"/>
                      <a:pt x="259" y="147"/>
                    </a:cubicBezTo>
                    <a:cubicBezTo>
                      <a:pt x="283" y="147"/>
                      <a:pt x="302" y="128"/>
                      <a:pt x="302" y="104"/>
                    </a:cubicBezTo>
                    <a:cubicBezTo>
                      <a:pt x="302" y="99"/>
                      <a:pt x="302" y="99"/>
                      <a:pt x="302" y="99"/>
                    </a:cubicBezTo>
                    <a:cubicBezTo>
                      <a:pt x="303" y="99"/>
                      <a:pt x="304" y="99"/>
                      <a:pt x="305" y="99"/>
                    </a:cubicBezTo>
                    <a:cubicBezTo>
                      <a:pt x="312" y="99"/>
                      <a:pt x="317" y="95"/>
                      <a:pt x="317" y="89"/>
                    </a:cubicBezTo>
                    <a:cubicBezTo>
                      <a:pt x="317" y="59"/>
                      <a:pt x="317" y="59"/>
                      <a:pt x="317" y="59"/>
                    </a:cubicBezTo>
                    <a:cubicBezTo>
                      <a:pt x="317" y="54"/>
                      <a:pt x="312" y="49"/>
                      <a:pt x="306" y="49"/>
                    </a:cubicBezTo>
                    <a:close/>
                    <a:moveTo>
                      <a:pt x="291" y="104"/>
                    </a:moveTo>
                    <a:cubicBezTo>
                      <a:pt x="291" y="122"/>
                      <a:pt x="276" y="136"/>
                      <a:pt x="259" y="136"/>
                    </a:cubicBezTo>
                    <a:cubicBezTo>
                      <a:pt x="43" y="135"/>
                      <a:pt x="43" y="135"/>
                      <a:pt x="43" y="135"/>
                    </a:cubicBezTo>
                    <a:cubicBezTo>
                      <a:pt x="26" y="135"/>
                      <a:pt x="12" y="121"/>
                      <a:pt x="12" y="104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26"/>
                      <a:pt x="26" y="12"/>
                      <a:pt x="44" y="12"/>
                    </a:cubicBezTo>
                    <a:cubicBezTo>
                      <a:pt x="259" y="12"/>
                      <a:pt x="259" y="12"/>
                      <a:pt x="259" y="12"/>
                    </a:cubicBezTo>
                    <a:cubicBezTo>
                      <a:pt x="277" y="12"/>
                      <a:pt x="291" y="26"/>
                      <a:pt x="291" y="44"/>
                    </a:cubicBezTo>
                    <a:lnTo>
                      <a:pt x="291" y="1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65" name="Rectangle 156">
                <a:extLst>
                  <a:ext uri="{FF2B5EF4-FFF2-40B4-BE49-F238E27FC236}">
                    <a16:creationId xmlns:a16="http://schemas.microsoft.com/office/drawing/2014/main" id="{A869228B-B5AA-4D69-A741-B6B230DEBB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9550" y="2182813"/>
                <a:ext cx="47625" cy="2063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66" name="Rectangle 157">
                <a:extLst>
                  <a:ext uri="{FF2B5EF4-FFF2-40B4-BE49-F238E27FC236}">
                    <a16:creationId xmlns:a16="http://schemas.microsoft.com/office/drawing/2014/main" id="{8A0445CA-327D-4EB0-A098-1AFC357726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4638" y="2182813"/>
                <a:ext cx="47625" cy="2063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67" name="Freeform 158">
                <a:extLst>
                  <a:ext uri="{FF2B5EF4-FFF2-40B4-BE49-F238E27FC236}">
                    <a16:creationId xmlns:a16="http://schemas.microsoft.com/office/drawing/2014/main" id="{A102D9EA-112A-4713-9E9A-BD0914E15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4463" y="2182813"/>
                <a:ext cx="47625" cy="206375"/>
              </a:xfrm>
              <a:custGeom>
                <a:avLst/>
                <a:gdLst>
                  <a:gd name="T0" fmla="*/ 0 w 25"/>
                  <a:gd name="T1" fmla="*/ 22 h 109"/>
                  <a:gd name="T2" fmla="*/ 0 w 25"/>
                  <a:gd name="T3" fmla="*/ 91 h 109"/>
                  <a:gd name="T4" fmla="*/ 15 w 25"/>
                  <a:gd name="T5" fmla="*/ 109 h 109"/>
                  <a:gd name="T6" fmla="*/ 25 w 25"/>
                  <a:gd name="T7" fmla="*/ 109 h 109"/>
                  <a:gd name="T8" fmla="*/ 25 w 25"/>
                  <a:gd name="T9" fmla="*/ 0 h 109"/>
                  <a:gd name="T10" fmla="*/ 17 w 25"/>
                  <a:gd name="T11" fmla="*/ 0 h 109"/>
                  <a:gd name="T12" fmla="*/ 0 w 25"/>
                  <a:gd name="T13" fmla="*/ 22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109">
                    <a:moveTo>
                      <a:pt x="0" y="22"/>
                    </a:moveTo>
                    <a:cubicBezTo>
                      <a:pt x="0" y="91"/>
                      <a:pt x="0" y="91"/>
                      <a:pt x="0" y="91"/>
                    </a:cubicBezTo>
                    <a:cubicBezTo>
                      <a:pt x="2" y="97"/>
                      <a:pt x="6" y="104"/>
                      <a:pt x="15" y="109"/>
                    </a:cubicBezTo>
                    <a:cubicBezTo>
                      <a:pt x="25" y="109"/>
                      <a:pt x="25" y="109"/>
                      <a:pt x="25" y="109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2" y="2"/>
                      <a:pt x="3" y="7"/>
                      <a:pt x="0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</p:grpSp>
        <p:sp>
          <p:nvSpPr>
            <p:cNvPr id="53" name="Freeform 107">
              <a:extLst>
                <a:ext uri="{FF2B5EF4-FFF2-40B4-BE49-F238E27FC236}">
                  <a16:creationId xmlns:a16="http://schemas.microsoft.com/office/drawing/2014/main" id="{6423E8FC-7CF0-477D-B061-1375B3F91D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9312" y="4423406"/>
              <a:ext cx="474864" cy="549130"/>
            </a:xfrm>
            <a:custGeom>
              <a:avLst/>
              <a:gdLst>
                <a:gd name="T0" fmla="*/ 251 w 252"/>
                <a:gd name="T1" fmla="*/ 83 h 291"/>
                <a:gd name="T2" fmla="*/ 248 w 252"/>
                <a:gd name="T3" fmla="*/ 80 h 291"/>
                <a:gd name="T4" fmla="*/ 142 w 252"/>
                <a:gd name="T5" fmla="*/ 34 h 291"/>
                <a:gd name="T6" fmla="*/ 141 w 252"/>
                <a:gd name="T7" fmla="*/ 34 h 291"/>
                <a:gd name="T8" fmla="*/ 72 w 252"/>
                <a:gd name="T9" fmla="*/ 0 h 291"/>
                <a:gd name="T10" fmla="*/ 66 w 252"/>
                <a:gd name="T11" fmla="*/ 1 h 291"/>
                <a:gd name="T12" fmla="*/ 20 w 252"/>
                <a:gd name="T13" fmla="*/ 41 h 291"/>
                <a:gd name="T14" fmla="*/ 34 w 252"/>
                <a:gd name="T15" fmla="*/ 237 h 291"/>
                <a:gd name="T16" fmla="*/ 20 w 252"/>
                <a:gd name="T17" fmla="*/ 262 h 291"/>
                <a:gd name="T18" fmla="*/ 49 w 252"/>
                <a:gd name="T19" fmla="*/ 291 h 291"/>
                <a:gd name="T20" fmla="*/ 132 w 252"/>
                <a:gd name="T21" fmla="*/ 291 h 291"/>
                <a:gd name="T22" fmla="*/ 161 w 252"/>
                <a:gd name="T23" fmla="*/ 262 h 291"/>
                <a:gd name="T24" fmla="*/ 132 w 252"/>
                <a:gd name="T25" fmla="*/ 233 h 291"/>
                <a:gd name="T26" fmla="*/ 123 w 252"/>
                <a:gd name="T27" fmla="*/ 233 h 291"/>
                <a:gd name="T28" fmla="*/ 123 w 252"/>
                <a:gd name="T29" fmla="*/ 229 h 291"/>
                <a:gd name="T30" fmla="*/ 112 w 252"/>
                <a:gd name="T31" fmla="*/ 218 h 291"/>
                <a:gd name="T32" fmla="*/ 104 w 252"/>
                <a:gd name="T33" fmla="*/ 218 h 291"/>
                <a:gd name="T34" fmla="*/ 93 w 252"/>
                <a:gd name="T35" fmla="*/ 229 h 291"/>
                <a:gd name="T36" fmla="*/ 94 w 252"/>
                <a:gd name="T37" fmla="*/ 233 h 291"/>
                <a:gd name="T38" fmla="*/ 74 w 252"/>
                <a:gd name="T39" fmla="*/ 233 h 291"/>
                <a:gd name="T40" fmla="*/ 56 w 252"/>
                <a:gd name="T41" fmla="*/ 56 h 291"/>
                <a:gd name="T42" fmla="*/ 71 w 252"/>
                <a:gd name="T43" fmla="*/ 39 h 291"/>
                <a:gd name="T44" fmla="*/ 73 w 252"/>
                <a:gd name="T45" fmla="*/ 39 h 291"/>
                <a:gd name="T46" fmla="*/ 118 w 252"/>
                <a:gd name="T47" fmla="*/ 66 h 291"/>
                <a:gd name="T48" fmla="*/ 118 w 252"/>
                <a:gd name="T49" fmla="*/ 67 h 291"/>
                <a:gd name="T50" fmla="*/ 117 w 252"/>
                <a:gd name="T51" fmla="*/ 72 h 291"/>
                <a:gd name="T52" fmla="*/ 149 w 252"/>
                <a:gd name="T53" fmla="*/ 159 h 291"/>
                <a:gd name="T54" fmla="*/ 155 w 252"/>
                <a:gd name="T55" fmla="*/ 163 h 291"/>
                <a:gd name="T56" fmla="*/ 155 w 252"/>
                <a:gd name="T57" fmla="*/ 163 h 291"/>
                <a:gd name="T58" fmla="*/ 189 w 252"/>
                <a:gd name="T59" fmla="*/ 153 h 291"/>
                <a:gd name="T60" fmla="*/ 226 w 252"/>
                <a:gd name="T61" fmla="*/ 149 h 291"/>
                <a:gd name="T62" fmla="*/ 231 w 252"/>
                <a:gd name="T63" fmla="*/ 116 h 291"/>
                <a:gd name="T64" fmla="*/ 230 w 252"/>
                <a:gd name="T65" fmla="*/ 116 h 291"/>
                <a:gd name="T66" fmla="*/ 251 w 252"/>
                <a:gd name="T67" fmla="*/ 88 h 291"/>
                <a:gd name="T68" fmla="*/ 251 w 252"/>
                <a:gd name="T69" fmla="*/ 83 h 291"/>
                <a:gd name="T70" fmla="*/ 150 w 252"/>
                <a:gd name="T71" fmla="*/ 262 h 291"/>
                <a:gd name="T72" fmla="*/ 132 w 252"/>
                <a:gd name="T73" fmla="*/ 280 h 291"/>
                <a:gd name="T74" fmla="*/ 49 w 252"/>
                <a:gd name="T75" fmla="*/ 280 h 291"/>
                <a:gd name="T76" fmla="*/ 32 w 252"/>
                <a:gd name="T77" fmla="*/ 262 h 291"/>
                <a:gd name="T78" fmla="*/ 49 w 252"/>
                <a:gd name="T79" fmla="*/ 245 h 291"/>
                <a:gd name="T80" fmla="*/ 132 w 252"/>
                <a:gd name="T81" fmla="*/ 245 h 291"/>
                <a:gd name="T82" fmla="*/ 150 w 252"/>
                <a:gd name="T83" fmla="*/ 262 h 291"/>
                <a:gd name="T84" fmla="*/ 73 w 252"/>
                <a:gd name="T85" fmla="*/ 28 h 291"/>
                <a:gd name="T86" fmla="*/ 69 w 252"/>
                <a:gd name="T87" fmla="*/ 28 h 291"/>
                <a:gd name="T88" fmla="*/ 46 w 252"/>
                <a:gd name="T89" fmla="*/ 52 h 291"/>
                <a:gd name="T90" fmla="*/ 45 w 252"/>
                <a:gd name="T91" fmla="*/ 52 h 291"/>
                <a:gd name="T92" fmla="*/ 62 w 252"/>
                <a:gd name="T93" fmla="*/ 233 h 291"/>
                <a:gd name="T94" fmla="*/ 49 w 252"/>
                <a:gd name="T95" fmla="*/ 233 h 291"/>
                <a:gd name="T96" fmla="*/ 45 w 252"/>
                <a:gd name="T97" fmla="*/ 233 h 291"/>
                <a:gd name="T98" fmla="*/ 31 w 252"/>
                <a:gd name="T99" fmla="*/ 46 h 291"/>
                <a:gd name="T100" fmla="*/ 67 w 252"/>
                <a:gd name="T101" fmla="*/ 12 h 291"/>
                <a:gd name="T102" fmla="*/ 72 w 252"/>
                <a:gd name="T103" fmla="*/ 12 h 291"/>
                <a:gd name="T104" fmla="*/ 132 w 252"/>
                <a:gd name="T105" fmla="*/ 41 h 291"/>
                <a:gd name="T106" fmla="*/ 124 w 252"/>
                <a:gd name="T107" fmla="*/ 55 h 291"/>
                <a:gd name="T108" fmla="*/ 73 w 252"/>
                <a:gd name="T109" fmla="*/ 28 h 291"/>
                <a:gd name="T110" fmla="*/ 159 w 252"/>
                <a:gd name="T111" fmla="*/ 151 h 291"/>
                <a:gd name="T112" fmla="*/ 129 w 252"/>
                <a:gd name="T113" fmla="*/ 70 h 291"/>
                <a:gd name="T114" fmla="*/ 142 w 252"/>
                <a:gd name="T115" fmla="*/ 46 h 291"/>
                <a:gd name="T116" fmla="*/ 237 w 252"/>
                <a:gd name="T117" fmla="*/ 88 h 291"/>
                <a:gd name="T118" fmla="*/ 159 w 252"/>
                <a:gd name="T119" fmla="*/ 15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2" h="291">
                  <a:moveTo>
                    <a:pt x="251" y="83"/>
                  </a:moveTo>
                  <a:cubicBezTo>
                    <a:pt x="251" y="82"/>
                    <a:pt x="250" y="80"/>
                    <a:pt x="248" y="80"/>
                  </a:cubicBezTo>
                  <a:cubicBezTo>
                    <a:pt x="142" y="34"/>
                    <a:pt x="142" y="34"/>
                    <a:pt x="142" y="34"/>
                  </a:cubicBezTo>
                  <a:cubicBezTo>
                    <a:pt x="142" y="34"/>
                    <a:pt x="142" y="34"/>
                    <a:pt x="141" y="34"/>
                  </a:cubicBezTo>
                  <a:cubicBezTo>
                    <a:pt x="121" y="16"/>
                    <a:pt x="97" y="0"/>
                    <a:pt x="72" y="0"/>
                  </a:cubicBezTo>
                  <a:cubicBezTo>
                    <a:pt x="70" y="0"/>
                    <a:pt x="68" y="0"/>
                    <a:pt x="66" y="1"/>
                  </a:cubicBezTo>
                  <a:cubicBezTo>
                    <a:pt x="52" y="2"/>
                    <a:pt x="32" y="11"/>
                    <a:pt x="20" y="41"/>
                  </a:cubicBezTo>
                  <a:cubicBezTo>
                    <a:pt x="18" y="47"/>
                    <a:pt x="0" y="97"/>
                    <a:pt x="34" y="237"/>
                  </a:cubicBezTo>
                  <a:cubicBezTo>
                    <a:pt x="26" y="242"/>
                    <a:pt x="20" y="252"/>
                    <a:pt x="20" y="262"/>
                  </a:cubicBezTo>
                  <a:cubicBezTo>
                    <a:pt x="20" y="278"/>
                    <a:pt x="33" y="291"/>
                    <a:pt x="49" y="291"/>
                  </a:cubicBezTo>
                  <a:cubicBezTo>
                    <a:pt x="132" y="291"/>
                    <a:pt x="132" y="291"/>
                    <a:pt x="132" y="291"/>
                  </a:cubicBezTo>
                  <a:cubicBezTo>
                    <a:pt x="148" y="291"/>
                    <a:pt x="161" y="278"/>
                    <a:pt x="161" y="262"/>
                  </a:cubicBezTo>
                  <a:cubicBezTo>
                    <a:pt x="161" y="246"/>
                    <a:pt x="148" y="233"/>
                    <a:pt x="132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2"/>
                    <a:pt x="123" y="231"/>
                    <a:pt x="123" y="229"/>
                  </a:cubicBezTo>
                  <a:cubicBezTo>
                    <a:pt x="123" y="223"/>
                    <a:pt x="118" y="218"/>
                    <a:pt x="112" y="218"/>
                  </a:cubicBezTo>
                  <a:cubicBezTo>
                    <a:pt x="104" y="218"/>
                    <a:pt x="104" y="218"/>
                    <a:pt x="104" y="218"/>
                  </a:cubicBezTo>
                  <a:cubicBezTo>
                    <a:pt x="98" y="218"/>
                    <a:pt x="93" y="223"/>
                    <a:pt x="93" y="229"/>
                  </a:cubicBezTo>
                  <a:cubicBezTo>
                    <a:pt x="93" y="231"/>
                    <a:pt x="93" y="232"/>
                    <a:pt x="94" y="233"/>
                  </a:cubicBezTo>
                  <a:cubicBezTo>
                    <a:pt x="74" y="233"/>
                    <a:pt x="74" y="233"/>
                    <a:pt x="74" y="233"/>
                  </a:cubicBezTo>
                  <a:cubicBezTo>
                    <a:pt x="42" y="106"/>
                    <a:pt x="56" y="58"/>
                    <a:pt x="56" y="56"/>
                  </a:cubicBezTo>
                  <a:cubicBezTo>
                    <a:pt x="61" y="46"/>
                    <a:pt x="65" y="40"/>
                    <a:pt x="71" y="39"/>
                  </a:cubicBezTo>
                  <a:cubicBezTo>
                    <a:pt x="71" y="39"/>
                    <a:pt x="72" y="39"/>
                    <a:pt x="73" y="39"/>
                  </a:cubicBezTo>
                  <a:cubicBezTo>
                    <a:pt x="85" y="39"/>
                    <a:pt x="102" y="51"/>
                    <a:pt x="118" y="66"/>
                  </a:cubicBezTo>
                  <a:cubicBezTo>
                    <a:pt x="118" y="67"/>
                    <a:pt x="118" y="67"/>
                    <a:pt x="118" y="67"/>
                  </a:cubicBezTo>
                  <a:cubicBezTo>
                    <a:pt x="117" y="68"/>
                    <a:pt x="117" y="70"/>
                    <a:pt x="117" y="72"/>
                  </a:cubicBezTo>
                  <a:cubicBezTo>
                    <a:pt x="149" y="159"/>
                    <a:pt x="149" y="159"/>
                    <a:pt x="149" y="159"/>
                  </a:cubicBezTo>
                  <a:cubicBezTo>
                    <a:pt x="150" y="162"/>
                    <a:pt x="152" y="163"/>
                    <a:pt x="155" y="163"/>
                  </a:cubicBezTo>
                  <a:cubicBezTo>
                    <a:pt x="155" y="163"/>
                    <a:pt x="155" y="163"/>
                    <a:pt x="155" y="163"/>
                  </a:cubicBezTo>
                  <a:cubicBezTo>
                    <a:pt x="167" y="163"/>
                    <a:pt x="179" y="159"/>
                    <a:pt x="189" y="153"/>
                  </a:cubicBezTo>
                  <a:cubicBezTo>
                    <a:pt x="207" y="163"/>
                    <a:pt x="226" y="149"/>
                    <a:pt x="226" y="149"/>
                  </a:cubicBezTo>
                  <a:cubicBezTo>
                    <a:pt x="243" y="136"/>
                    <a:pt x="231" y="116"/>
                    <a:pt x="231" y="116"/>
                  </a:cubicBezTo>
                  <a:cubicBezTo>
                    <a:pt x="231" y="116"/>
                    <a:pt x="231" y="116"/>
                    <a:pt x="230" y="116"/>
                  </a:cubicBezTo>
                  <a:cubicBezTo>
                    <a:pt x="243" y="102"/>
                    <a:pt x="250" y="89"/>
                    <a:pt x="251" y="88"/>
                  </a:cubicBezTo>
                  <a:cubicBezTo>
                    <a:pt x="252" y="86"/>
                    <a:pt x="252" y="85"/>
                    <a:pt x="251" y="83"/>
                  </a:cubicBezTo>
                  <a:close/>
                  <a:moveTo>
                    <a:pt x="150" y="262"/>
                  </a:moveTo>
                  <a:cubicBezTo>
                    <a:pt x="150" y="272"/>
                    <a:pt x="142" y="280"/>
                    <a:pt x="132" y="280"/>
                  </a:cubicBezTo>
                  <a:cubicBezTo>
                    <a:pt x="49" y="280"/>
                    <a:pt x="49" y="280"/>
                    <a:pt x="49" y="280"/>
                  </a:cubicBezTo>
                  <a:cubicBezTo>
                    <a:pt x="40" y="280"/>
                    <a:pt x="32" y="272"/>
                    <a:pt x="32" y="262"/>
                  </a:cubicBezTo>
                  <a:cubicBezTo>
                    <a:pt x="32" y="253"/>
                    <a:pt x="40" y="245"/>
                    <a:pt x="49" y="245"/>
                  </a:cubicBezTo>
                  <a:cubicBezTo>
                    <a:pt x="132" y="245"/>
                    <a:pt x="132" y="245"/>
                    <a:pt x="132" y="245"/>
                  </a:cubicBezTo>
                  <a:cubicBezTo>
                    <a:pt x="142" y="245"/>
                    <a:pt x="150" y="253"/>
                    <a:pt x="150" y="262"/>
                  </a:cubicBezTo>
                  <a:close/>
                  <a:moveTo>
                    <a:pt x="73" y="28"/>
                  </a:moveTo>
                  <a:cubicBezTo>
                    <a:pt x="72" y="28"/>
                    <a:pt x="70" y="28"/>
                    <a:pt x="69" y="28"/>
                  </a:cubicBezTo>
                  <a:cubicBezTo>
                    <a:pt x="66" y="28"/>
                    <a:pt x="54" y="30"/>
                    <a:pt x="46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45" y="54"/>
                    <a:pt x="30" y="101"/>
                    <a:pt x="62" y="233"/>
                  </a:cubicBezTo>
                  <a:cubicBezTo>
                    <a:pt x="49" y="233"/>
                    <a:pt x="49" y="233"/>
                    <a:pt x="49" y="233"/>
                  </a:cubicBezTo>
                  <a:cubicBezTo>
                    <a:pt x="48" y="233"/>
                    <a:pt x="46" y="233"/>
                    <a:pt x="45" y="233"/>
                  </a:cubicBezTo>
                  <a:cubicBezTo>
                    <a:pt x="13" y="97"/>
                    <a:pt x="28" y="51"/>
                    <a:pt x="31" y="46"/>
                  </a:cubicBezTo>
                  <a:cubicBezTo>
                    <a:pt x="41" y="20"/>
                    <a:pt x="56" y="13"/>
                    <a:pt x="67" y="12"/>
                  </a:cubicBezTo>
                  <a:cubicBezTo>
                    <a:pt x="69" y="12"/>
                    <a:pt x="71" y="12"/>
                    <a:pt x="72" y="12"/>
                  </a:cubicBezTo>
                  <a:cubicBezTo>
                    <a:pt x="91" y="12"/>
                    <a:pt x="113" y="25"/>
                    <a:pt x="132" y="41"/>
                  </a:cubicBezTo>
                  <a:cubicBezTo>
                    <a:pt x="124" y="55"/>
                    <a:pt x="124" y="55"/>
                    <a:pt x="124" y="55"/>
                  </a:cubicBezTo>
                  <a:cubicBezTo>
                    <a:pt x="107" y="41"/>
                    <a:pt x="88" y="28"/>
                    <a:pt x="73" y="28"/>
                  </a:cubicBezTo>
                  <a:close/>
                  <a:moveTo>
                    <a:pt x="159" y="151"/>
                  </a:moveTo>
                  <a:cubicBezTo>
                    <a:pt x="129" y="70"/>
                    <a:pt x="129" y="70"/>
                    <a:pt x="129" y="70"/>
                  </a:cubicBezTo>
                  <a:cubicBezTo>
                    <a:pt x="142" y="46"/>
                    <a:pt x="142" y="46"/>
                    <a:pt x="142" y="46"/>
                  </a:cubicBezTo>
                  <a:cubicBezTo>
                    <a:pt x="237" y="88"/>
                    <a:pt x="237" y="88"/>
                    <a:pt x="237" y="88"/>
                  </a:cubicBezTo>
                  <a:cubicBezTo>
                    <a:pt x="227" y="103"/>
                    <a:pt x="195" y="148"/>
                    <a:pt x="159" y="15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grpSp>
          <p:nvGrpSpPr>
            <p:cNvPr id="54" name="Group 58">
              <a:extLst>
                <a:ext uri="{FF2B5EF4-FFF2-40B4-BE49-F238E27FC236}">
                  <a16:creationId xmlns:a16="http://schemas.microsoft.com/office/drawing/2014/main" id="{21B6D878-5455-4F00-91C1-228B28F1AC2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121846" y="5260180"/>
              <a:ext cx="492125" cy="595313"/>
              <a:chOff x="3971925" y="295275"/>
              <a:chExt cx="492125" cy="595313"/>
            </a:xfrm>
          </p:grpSpPr>
          <p:sp>
            <p:nvSpPr>
              <p:cNvPr id="59" name="Freeform 108">
                <a:extLst>
                  <a:ext uri="{FF2B5EF4-FFF2-40B4-BE49-F238E27FC236}">
                    <a16:creationId xmlns:a16="http://schemas.microsoft.com/office/drawing/2014/main" id="{F5B98CB2-2D68-4A5A-9E4F-C3A0EB4ED6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3914" y="294893"/>
                <a:ext cx="92114" cy="187276"/>
              </a:xfrm>
              <a:custGeom>
                <a:avLst/>
                <a:gdLst>
                  <a:gd name="T0" fmla="*/ 17 w 48"/>
                  <a:gd name="T1" fmla="*/ 99 h 99"/>
                  <a:gd name="T2" fmla="*/ 24 w 48"/>
                  <a:gd name="T3" fmla="*/ 57 h 99"/>
                  <a:gd name="T4" fmla="*/ 15 w 48"/>
                  <a:gd name="T5" fmla="*/ 0 h 99"/>
                  <a:gd name="T6" fmla="*/ 13 w 48"/>
                  <a:gd name="T7" fmla="*/ 45 h 99"/>
                  <a:gd name="T8" fmla="*/ 3 w 48"/>
                  <a:gd name="T9" fmla="*/ 66 h 99"/>
                  <a:gd name="T10" fmla="*/ 17 w 48"/>
                  <a:gd name="T11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99">
                    <a:moveTo>
                      <a:pt x="17" y="99"/>
                    </a:moveTo>
                    <a:cubicBezTo>
                      <a:pt x="8" y="80"/>
                      <a:pt x="24" y="57"/>
                      <a:pt x="24" y="57"/>
                    </a:cubicBezTo>
                    <a:cubicBezTo>
                      <a:pt x="48" y="25"/>
                      <a:pt x="15" y="0"/>
                      <a:pt x="15" y="0"/>
                    </a:cubicBezTo>
                    <a:cubicBezTo>
                      <a:pt x="26" y="10"/>
                      <a:pt x="21" y="32"/>
                      <a:pt x="13" y="45"/>
                    </a:cubicBezTo>
                    <a:cubicBezTo>
                      <a:pt x="4" y="58"/>
                      <a:pt x="3" y="66"/>
                      <a:pt x="3" y="66"/>
                    </a:cubicBezTo>
                    <a:cubicBezTo>
                      <a:pt x="0" y="89"/>
                      <a:pt x="17" y="99"/>
                      <a:pt x="17" y="99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60" name="Freeform 109">
                <a:extLst>
                  <a:ext uri="{FF2B5EF4-FFF2-40B4-BE49-F238E27FC236}">
                    <a16:creationId xmlns:a16="http://schemas.microsoft.com/office/drawing/2014/main" id="{02C588C9-B016-4D8C-8177-3EA05A1BA8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6028" y="358376"/>
                <a:ext cx="52409" cy="104747"/>
              </a:xfrm>
              <a:custGeom>
                <a:avLst/>
                <a:gdLst>
                  <a:gd name="T0" fmla="*/ 10 w 28"/>
                  <a:gd name="T1" fmla="*/ 56 h 56"/>
                  <a:gd name="T2" fmla="*/ 14 w 28"/>
                  <a:gd name="T3" fmla="*/ 32 h 56"/>
                  <a:gd name="T4" fmla="*/ 9 w 28"/>
                  <a:gd name="T5" fmla="*/ 0 h 56"/>
                  <a:gd name="T6" fmla="*/ 8 w 28"/>
                  <a:gd name="T7" fmla="*/ 25 h 56"/>
                  <a:gd name="T8" fmla="*/ 2 w 28"/>
                  <a:gd name="T9" fmla="*/ 37 h 56"/>
                  <a:gd name="T10" fmla="*/ 10 w 28"/>
                  <a:gd name="T11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56">
                    <a:moveTo>
                      <a:pt x="10" y="56"/>
                    </a:moveTo>
                    <a:cubicBezTo>
                      <a:pt x="5" y="45"/>
                      <a:pt x="14" y="32"/>
                      <a:pt x="14" y="32"/>
                    </a:cubicBezTo>
                    <a:cubicBezTo>
                      <a:pt x="28" y="14"/>
                      <a:pt x="9" y="0"/>
                      <a:pt x="9" y="0"/>
                    </a:cubicBezTo>
                    <a:cubicBezTo>
                      <a:pt x="15" y="5"/>
                      <a:pt x="12" y="18"/>
                      <a:pt x="8" y="25"/>
                    </a:cubicBezTo>
                    <a:cubicBezTo>
                      <a:pt x="3" y="33"/>
                      <a:pt x="2" y="37"/>
                      <a:pt x="2" y="37"/>
                    </a:cubicBezTo>
                    <a:cubicBezTo>
                      <a:pt x="0" y="50"/>
                      <a:pt x="10" y="56"/>
                      <a:pt x="10" y="56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61" name="Freeform 110">
                <a:extLst>
                  <a:ext uri="{FF2B5EF4-FFF2-40B4-BE49-F238E27FC236}">
                    <a16:creationId xmlns:a16="http://schemas.microsoft.com/office/drawing/2014/main" id="{A954455E-4679-479F-9CE6-74537A5B7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1330" y="358376"/>
                <a:ext cx="50821" cy="104747"/>
              </a:xfrm>
              <a:custGeom>
                <a:avLst/>
                <a:gdLst>
                  <a:gd name="T0" fmla="*/ 10 w 27"/>
                  <a:gd name="T1" fmla="*/ 56 h 56"/>
                  <a:gd name="T2" fmla="*/ 14 w 27"/>
                  <a:gd name="T3" fmla="*/ 32 h 56"/>
                  <a:gd name="T4" fmla="*/ 9 w 27"/>
                  <a:gd name="T5" fmla="*/ 0 h 56"/>
                  <a:gd name="T6" fmla="*/ 7 w 27"/>
                  <a:gd name="T7" fmla="*/ 25 h 56"/>
                  <a:gd name="T8" fmla="*/ 2 w 27"/>
                  <a:gd name="T9" fmla="*/ 37 h 56"/>
                  <a:gd name="T10" fmla="*/ 10 w 27"/>
                  <a:gd name="T11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56">
                    <a:moveTo>
                      <a:pt x="10" y="56"/>
                    </a:moveTo>
                    <a:cubicBezTo>
                      <a:pt x="4" y="45"/>
                      <a:pt x="14" y="32"/>
                      <a:pt x="14" y="32"/>
                    </a:cubicBezTo>
                    <a:cubicBezTo>
                      <a:pt x="27" y="14"/>
                      <a:pt x="9" y="0"/>
                      <a:pt x="9" y="0"/>
                    </a:cubicBezTo>
                    <a:cubicBezTo>
                      <a:pt x="15" y="5"/>
                      <a:pt x="12" y="18"/>
                      <a:pt x="7" y="25"/>
                    </a:cubicBezTo>
                    <a:cubicBezTo>
                      <a:pt x="2" y="33"/>
                      <a:pt x="2" y="37"/>
                      <a:pt x="2" y="37"/>
                    </a:cubicBezTo>
                    <a:cubicBezTo>
                      <a:pt x="0" y="50"/>
                      <a:pt x="10" y="56"/>
                      <a:pt x="10" y="56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62" name="Freeform 111">
                <a:extLst>
                  <a:ext uri="{FF2B5EF4-FFF2-40B4-BE49-F238E27FC236}">
                    <a16:creationId xmlns:a16="http://schemas.microsoft.com/office/drawing/2014/main" id="{C8A5B3CA-6596-4479-B855-A242CC92C3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18142" y="666270"/>
                <a:ext cx="96878" cy="93638"/>
              </a:xfrm>
              <a:custGeom>
                <a:avLst/>
                <a:gdLst>
                  <a:gd name="T0" fmla="*/ 25 w 51"/>
                  <a:gd name="T1" fmla="*/ 0 h 50"/>
                  <a:gd name="T2" fmla="*/ 0 w 51"/>
                  <a:gd name="T3" fmla="*/ 20 h 50"/>
                  <a:gd name="T4" fmla="*/ 0 w 51"/>
                  <a:gd name="T5" fmla="*/ 21 h 50"/>
                  <a:gd name="T6" fmla="*/ 0 w 51"/>
                  <a:gd name="T7" fmla="*/ 29 h 50"/>
                  <a:gd name="T8" fmla="*/ 0 w 51"/>
                  <a:gd name="T9" fmla="*/ 30 h 50"/>
                  <a:gd name="T10" fmla="*/ 25 w 51"/>
                  <a:gd name="T11" fmla="*/ 50 h 50"/>
                  <a:gd name="T12" fmla="*/ 51 w 51"/>
                  <a:gd name="T13" fmla="*/ 25 h 50"/>
                  <a:gd name="T14" fmla="*/ 25 w 51"/>
                  <a:gd name="T15" fmla="*/ 0 h 50"/>
                  <a:gd name="T16" fmla="*/ 25 w 51"/>
                  <a:gd name="T17" fmla="*/ 38 h 50"/>
                  <a:gd name="T18" fmla="*/ 11 w 51"/>
                  <a:gd name="T19" fmla="*/ 28 h 50"/>
                  <a:gd name="T20" fmla="*/ 11 w 51"/>
                  <a:gd name="T21" fmla="*/ 22 h 50"/>
                  <a:gd name="T22" fmla="*/ 25 w 51"/>
                  <a:gd name="T23" fmla="*/ 12 h 50"/>
                  <a:gd name="T24" fmla="*/ 39 w 51"/>
                  <a:gd name="T25" fmla="*/ 25 h 50"/>
                  <a:gd name="T26" fmla="*/ 25 w 51"/>
                  <a:gd name="T27" fmla="*/ 3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" h="50">
                    <a:moveTo>
                      <a:pt x="25" y="0"/>
                    </a:moveTo>
                    <a:cubicBezTo>
                      <a:pt x="13" y="0"/>
                      <a:pt x="3" y="8"/>
                      <a:pt x="0" y="20"/>
                    </a:cubicBezTo>
                    <a:cubicBezTo>
                      <a:pt x="0" y="20"/>
                      <a:pt x="0" y="21"/>
                      <a:pt x="0" y="21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30"/>
                      <a:pt x="0" y="30"/>
                    </a:cubicBezTo>
                    <a:cubicBezTo>
                      <a:pt x="3" y="41"/>
                      <a:pt x="13" y="50"/>
                      <a:pt x="25" y="50"/>
                    </a:cubicBezTo>
                    <a:cubicBezTo>
                      <a:pt x="39" y="50"/>
                      <a:pt x="51" y="39"/>
                      <a:pt x="51" y="25"/>
                    </a:cubicBezTo>
                    <a:cubicBezTo>
                      <a:pt x="51" y="11"/>
                      <a:pt x="39" y="0"/>
                      <a:pt x="25" y="0"/>
                    </a:cubicBezTo>
                    <a:close/>
                    <a:moveTo>
                      <a:pt x="25" y="38"/>
                    </a:moveTo>
                    <a:cubicBezTo>
                      <a:pt x="19" y="38"/>
                      <a:pt x="13" y="34"/>
                      <a:pt x="11" y="28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3" y="16"/>
                      <a:pt x="19" y="12"/>
                      <a:pt x="25" y="12"/>
                    </a:cubicBezTo>
                    <a:cubicBezTo>
                      <a:pt x="33" y="12"/>
                      <a:pt x="39" y="18"/>
                      <a:pt x="39" y="25"/>
                    </a:cubicBezTo>
                    <a:cubicBezTo>
                      <a:pt x="39" y="32"/>
                      <a:pt x="33" y="38"/>
                      <a:pt x="25" y="38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63" name="Freeform 112">
                <a:extLst>
                  <a:ext uri="{FF2B5EF4-FFF2-40B4-BE49-F238E27FC236}">
                    <a16:creationId xmlns:a16="http://schemas.microsoft.com/office/drawing/2014/main" id="{020778A4-62A2-40A9-B839-F995DB294C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71921" y="532955"/>
                <a:ext cx="492333" cy="357094"/>
              </a:xfrm>
              <a:custGeom>
                <a:avLst/>
                <a:gdLst>
                  <a:gd name="T0" fmla="*/ 208 w 260"/>
                  <a:gd name="T1" fmla="*/ 45 h 189"/>
                  <a:gd name="T2" fmla="*/ 194 w 260"/>
                  <a:gd name="T3" fmla="*/ 47 h 189"/>
                  <a:gd name="T4" fmla="*/ 194 w 260"/>
                  <a:gd name="T5" fmla="*/ 6 h 189"/>
                  <a:gd name="T6" fmla="*/ 189 w 260"/>
                  <a:gd name="T7" fmla="*/ 0 h 189"/>
                  <a:gd name="T8" fmla="*/ 6 w 260"/>
                  <a:gd name="T9" fmla="*/ 0 h 189"/>
                  <a:gd name="T10" fmla="*/ 0 w 260"/>
                  <a:gd name="T11" fmla="*/ 6 h 189"/>
                  <a:gd name="T12" fmla="*/ 0 w 260"/>
                  <a:gd name="T13" fmla="*/ 183 h 189"/>
                  <a:gd name="T14" fmla="*/ 6 w 260"/>
                  <a:gd name="T15" fmla="*/ 189 h 189"/>
                  <a:gd name="T16" fmla="*/ 189 w 260"/>
                  <a:gd name="T17" fmla="*/ 189 h 189"/>
                  <a:gd name="T18" fmla="*/ 194 w 260"/>
                  <a:gd name="T19" fmla="*/ 183 h 189"/>
                  <a:gd name="T20" fmla="*/ 194 w 260"/>
                  <a:gd name="T21" fmla="*/ 143 h 189"/>
                  <a:gd name="T22" fmla="*/ 208 w 260"/>
                  <a:gd name="T23" fmla="*/ 145 h 189"/>
                  <a:gd name="T24" fmla="*/ 260 w 260"/>
                  <a:gd name="T25" fmla="*/ 95 h 189"/>
                  <a:gd name="T26" fmla="*/ 208 w 260"/>
                  <a:gd name="T27" fmla="*/ 45 h 189"/>
                  <a:gd name="T28" fmla="*/ 208 w 260"/>
                  <a:gd name="T29" fmla="*/ 133 h 189"/>
                  <a:gd name="T30" fmla="*/ 191 w 260"/>
                  <a:gd name="T31" fmla="*/ 130 h 189"/>
                  <a:gd name="T32" fmla="*/ 186 w 260"/>
                  <a:gd name="T33" fmla="*/ 130 h 189"/>
                  <a:gd name="T34" fmla="*/ 183 w 260"/>
                  <a:gd name="T35" fmla="*/ 135 h 189"/>
                  <a:gd name="T36" fmla="*/ 183 w 260"/>
                  <a:gd name="T37" fmla="*/ 178 h 189"/>
                  <a:gd name="T38" fmla="*/ 12 w 260"/>
                  <a:gd name="T39" fmla="*/ 178 h 189"/>
                  <a:gd name="T40" fmla="*/ 12 w 260"/>
                  <a:gd name="T41" fmla="*/ 12 h 189"/>
                  <a:gd name="T42" fmla="*/ 183 w 260"/>
                  <a:gd name="T43" fmla="*/ 12 h 189"/>
                  <a:gd name="T44" fmla="*/ 183 w 260"/>
                  <a:gd name="T45" fmla="*/ 20 h 189"/>
                  <a:gd name="T46" fmla="*/ 14 w 260"/>
                  <a:gd name="T47" fmla="*/ 20 h 189"/>
                  <a:gd name="T48" fmla="*/ 183 w 260"/>
                  <a:gd name="T49" fmla="*/ 21 h 189"/>
                  <a:gd name="T50" fmla="*/ 183 w 260"/>
                  <a:gd name="T51" fmla="*/ 55 h 189"/>
                  <a:gd name="T52" fmla="*/ 186 w 260"/>
                  <a:gd name="T53" fmla="*/ 60 h 189"/>
                  <a:gd name="T54" fmla="*/ 191 w 260"/>
                  <a:gd name="T55" fmla="*/ 60 h 189"/>
                  <a:gd name="T56" fmla="*/ 208 w 260"/>
                  <a:gd name="T57" fmla="*/ 56 h 189"/>
                  <a:gd name="T58" fmla="*/ 248 w 260"/>
                  <a:gd name="T59" fmla="*/ 95 h 189"/>
                  <a:gd name="T60" fmla="*/ 208 w 260"/>
                  <a:gd name="T61" fmla="*/ 133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60" h="189">
                    <a:moveTo>
                      <a:pt x="208" y="45"/>
                    </a:moveTo>
                    <a:cubicBezTo>
                      <a:pt x="203" y="45"/>
                      <a:pt x="199" y="45"/>
                      <a:pt x="194" y="47"/>
                    </a:cubicBezTo>
                    <a:cubicBezTo>
                      <a:pt x="194" y="6"/>
                      <a:pt x="194" y="6"/>
                      <a:pt x="194" y="6"/>
                    </a:cubicBezTo>
                    <a:cubicBezTo>
                      <a:pt x="194" y="3"/>
                      <a:pt x="192" y="0"/>
                      <a:pt x="18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183"/>
                      <a:pt x="0" y="183"/>
                      <a:pt x="0" y="183"/>
                    </a:cubicBezTo>
                    <a:cubicBezTo>
                      <a:pt x="0" y="187"/>
                      <a:pt x="3" y="189"/>
                      <a:pt x="6" y="189"/>
                    </a:cubicBezTo>
                    <a:cubicBezTo>
                      <a:pt x="189" y="189"/>
                      <a:pt x="189" y="189"/>
                      <a:pt x="189" y="189"/>
                    </a:cubicBezTo>
                    <a:cubicBezTo>
                      <a:pt x="192" y="189"/>
                      <a:pt x="194" y="187"/>
                      <a:pt x="194" y="183"/>
                    </a:cubicBezTo>
                    <a:cubicBezTo>
                      <a:pt x="194" y="143"/>
                      <a:pt x="194" y="143"/>
                      <a:pt x="194" y="143"/>
                    </a:cubicBezTo>
                    <a:cubicBezTo>
                      <a:pt x="199" y="144"/>
                      <a:pt x="203" y="145"/>
                      <a:pt x="208" y="145"/>
                    </a:cubicBezTo>
                    <a:cubicBezTo>
                      <a:pt x="237" y="145"/>
                      <a:pt x="260" y="122"/>
                      <a:pt x="260" y="95"/>
                    </a:cubicBezTo>
                    <a:cubicBezTo>
                      <a:pt x="260" y="67"/>
                      <a:pt x="237" y="45"/>
                      <a:pt x="208" y="45"/>
                    </a:cubicBezTo>
                    <a:close/>
                    <a:moveTo>
                      <a:pt x="208" y="133"/>
                    </a:moveTo>
                    <a:cubicBezTo>
                      <a:pt x="202" y="133"/>
                      <a:pt x="196" y="132"/>
                      <a:pt x="191" y="130"/>
                    </a:cubicBezTo>
                    <a:cubicBezTo>
                      <a:pt x="189" y="129"/>
                      <a:pt x="187" y="129"/>
                      <a:pt x="186" y="130"/>
                    </a:cubicBezTo>
                    <a:cubicBezTo>
                      <a:pt x="184" y="131"/>
                      <a:pt x="183" y="133"/>
                      <a:pt x="183" y="135"/>
                    </a:cubicBezTo>
                    <a:cubicBezTo>
                      <a:pt x="183" y="178"/>
                      <a:pt x="183" y="178"/>
                      <a:pt x="183" y="178"/>
                    </a:cubicBezTo>
                    <a:cubicBezTo>
                      <a:pt x="12" y="178"/>
                      <a:pt x="12" y="178"/>
                      <a:pt x="12" y="178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83" y="12"/>
                      <a:pt x="183" y="12"/>
                      <a:pt x="183" y="12"/>
                    </a:cubicBezTo>
                    <a:cubicBezTo>
                      <a:pt x="183" y="20"/>
                      <a:pt x="183" y="20"/>
                      <a:pt x="183" y="20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4" y="20"/>
                      <a:pt x="95" y="52"/>
                      <a:pt x="183" y="21"/>
                    </a:cubicBezTo>
                    <a:cubicBezTo>
                      <a:pt x="183" y="55"/>
                      <a:pt x="183" y="55"/>
                      <a:pt x="183" y="55"/>
                    </a:cubicBezTo>
                    <a:cubicBezTo>
                      <a:pt x="183" y="57"/>
                      <a:pt x="184" y="59"/>
                      <a:pt x="186" y="60"/>
                    </a:cubicBezTo>
                    <a:cubicBezTo>
                      <a:pt x="187" y="61"/>
                      <a:pt x="189" y="61"/>
                      <a:pt x="191" y="60"/>
                    </a:cubicBezTo>
                    <a:cubicBezTo>
                      <a:pt x="196" y="58"/>
                      <a:pt x="202" y="56"/>
                      <a:pt x="208" y="56"/>
                    </a:cubicBezTo>
                    <a:cubicBezTo>
                      <a:pt x="230" y="56"/>
                      <a:pt x="248" y="74"/>
                      <a:pt x="248" y="95"/>
                    </a:cubicBezTo>
                    <a:cubicBezTo>
                      <a:pt x="248" y="116"/>
                      <a:pt x="230" y="133"/>
                      <a:pt x="208" y="133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</p:grpSp>
        <p:sp>
          <p:nvSpPr>
            <p:cNvPr id="55" name="Content Placeholder 2">
              <a:extLst>
                <a:ext uri="{FF2B5EF4-FFF2-40B4-BE49-F238E27FC236}">
                  <a16:creationId xmlns:a16="http://schemas.microsoft.com/office/drawing/2014/main" id="{4EE0F355-2513-48FE-BEB2-1AC48466D48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73348" y="2401463"/>
              <a:ext cx="1931813" cy="849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chemeClr val="tx2"/>
                  </a:solidFill>
                </a:rPr>
                <a:t>Clever &amp; Intellegence</a:t>
              </a:r>
              <a:r>
                <a:rPr lang="en-US" altLang="zh-CN" sz="1400" b="1">
                  <a:solidFill>
                    <a:schemeClr val="tx2"/>
                  </a:solidFill>
                </a:rPr>
                <a:t/>
              </a:r>
              <a:br>
                <a:rPr lang="en-US" altLang="zh-CN" sz="1400" b="1">
                  <a:solidFill>
                    <a:schemeClr val="tx2"/>
                  </a:solidFill>
                </a:rPr>
              </a:br>
              <a:r>
                <a:rPr lang="en-US" altLang="zh-CN" sz="1100">
                  <a:solidFill>
                    <a:schemeClr val="tx2"/>
                  </a:solidFill>
                </a:rPr>
                <a:t>Lorem ipsum dolor sit amet, consectetur adipiscing elit. </a:t>
              </a:r>
            </a:p>
          </p:txBody>
        </p:sp>
        <p:sp>
          <p:nvSpPr>
            <p:cNvPr id="56" name="Content Placeholder 2">
              <a:extLst>
                <a:ext uri="{FF2B5EF4-FFF2-40B4-BE49-F238E27FC236}">
                  <a16:creationId xmlns:a16="http://schemas.microsoft.com/office/drawing/2014/main" id="{3087301C-D70D-4A97-AE60-8D4BF32BBA0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73348" y="3393719"/>
              <a:ext cx="1931813" cy="849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chemeClr val="tx2"/>
                  </a:solidFill>
                </a:rPr>
                <a:t>Clever &amp; Intellegence</a:t>
              </a:r>
              <a:r>
                <a:rPr lang="en-US" altLang="zh-CN" sz="1400" b="1">
                  <a:solidFill>
                    <a:schemeClr val="tx2"/>
                  </a:solidFill>
                </a:rPr>
                <a:t/>
              </a:r>
              <a:br>
                <a:rPr lang="en-US" altLang="zh-CN" sz="1400" b="1">
                  <a:solidFill>
                    <a:schemeClr val="tx2"/>
                  </a:solidFill>
                </a:rPr>
              </a:br>
              <a:r>
                <a:rPr lang="en-US" altLang="zh-CN" sz="1100">
                  <a:solidFill>
                    <a:schemeClr val="tx2"/>
                  </a:solidFill>
                </a:rPr>
                <a:t>Lorem ipsum dolor sit amet, consectetur adipiscing elit. </a:t>
              </a:r>
            </a:p>
          </p:txBody>
        </p:sp>
        <p:sp>
          <p:nvSpPr>
            <p:cNvPr id="57" name="Content Placeholder 2">
              <a:extLst>
                <a:ext uri="{FF2B5EF4-FFF2-40B4-BE49-F238E27FC236}">
                  <a16:creationId xmlns:a16="http://schemas.microsoft.com/office/drawing/2014/main" id="{F0F55E38-7C1F-4AA9-9F03-1687EE8747A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71402" y="4383802"/>
              <a:ext cx="1931813" cy="849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chemeClr val="tx2"/>
                  </a:solidFill>
                </a:rPr>
                <a:t>Clever &amp; Intellegence</a:t>
              </a:r>
              <a:r>
                <a:rPr lang="en-US" altLang="zh-CN" sz="1400" b="1">
                  <a:solidFill>
                    <a:schemeClr val="tx2"/>
                  </a:solidFill>
                </a:rPr>
                <a:t/>
              </a:r>
              <a:br>
                <a:rPr lang="en-US" altLang="zh-CN" sz="1400" b="1">
                  <a:solidFill>
                    <a:schemeClr val="tx2"/>
                  </a:solidFill>
                </a:rPr>
              </a:br>
              <a:r>
                <a:rPr lang="en-US" altLang="zh-CN" sz="1100">
                  <a:solidFill>
                    <a:schemeClr val="tx2"/>
                  </a:solidFill>
                </a:rPr>
                <a:t>Lorem ipsum dolor sit amet, consectetur adipiscing elit. </a:t>
              </a:r>
            </a:p>
          </p:txBody>
        </p:sp>
        <p:sp>
          <p:nvSpPr>
            <p:cNvPr id="58" name="Content Placeholder 2">
              <a:extLst>
                <a:ext uri="{FF2B5EF4-FFF2-40B4-BE49-F238E27FC236}">
                  <a16:creationId xmlns:a16="http://schemas.microsoft.com/office/drawing/2014/main" id="{A9539D31-C8F7-4AB7-A97D-13CC55841A3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92488" y="5332673"/>
              <a:ext cx="1931813" cy="849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chemeClr val="tx2"/>
                  </a:solidFill>
                </a:rPr>
                <a:t>Clever &amp; Intellegence</a:t>
              </a:r>
              <a:r>
                <a:rPr lang="en-US" altLang="zh-CN" sz="1400" b="1">
                  <a:solidFill>
                    <a:schemeClr val="tx2"/>
                  </a:solidFill>
                </a:rPr>
                <a:t/>
              </a:r>
              <a:br>
                <a:rPr lang="en-US" altLang="zh-CN" sz="1400" b="1">
                  <a:solidFill>
                    <a:schemeClr val="tx2"/>
                  </a:solidFill>
                </a:rPr>
              </a:br>
              <a:r>
                <a:rPr lang="en-US" altLang="zh-CN" sz="1100">
                  <a:solidFill>
                    <a:schemeClr val="tx2"/>
                  </a:solidFill>
                </a:rPr>
                <a:t>Lorem ipsum dolor sit amet, consectetur adipiscing elit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52099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DF5C34AF-4CEF-4485-91B6-38CB5D2219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DF5C34AF-4CEF-4485-91B6-38CB5D221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6">
            <a:extLst>
              <a:ext uri="{FF2B5EF4-FFF2-40B4-BE49-F238E27FC236}">
                <a16:creationId xmlns:a16="http://schemas.microsoft.com/office/drawing/2014/main" id="{E5257160-97EB-4BD2-B0DD-7B23D4049BEE}"/>
              </a:ext>
            </a:extLst>
          </p:cNvPr>
          <p:cNvGrpSpPr>
            <a:grpSpLocks/>
          </p:cNvGrpSpPr>
          <p:nvPr/>
        </p:nvGrpSpPr>
        <p:grpSpPr bwMode="auto">
          <a:xfrm>
            <a:off x="3805715" y="858044"/>
            <a:ext cx="4225925" cy="5141912"/>
            <a:chOff x="5328117" y="1745254"/>
            <a:chExt cx="4225925" cy="5141912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2635C5ED-B971-4B1F-8522-1C085C6471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5142" y="1745254"/>
              <a:ext cx="2609850" cy="1939925"/>
            </a:xfrm>
            <a:custGeom>
              <a:avLst/>
              <a:gdLst>
                <a:gd name="T0" fmla="*/ 2415437 w 886"/>
                <a:gd name="T1" fmla="*/ 768316 h 659"/>
                <a:gd name="T2" fmla="*/ 2209241 w 886"/>
                <a:gd name="T3" fmla="*/ 853685 h 659"/>
                <a:gd name="T4" fmla="*/ 2132654 w 886"/>
                <a:gd name="T5" fmla="*/ 738879 h 659"/>
                <a:gd name="T6" fmla="*/ 2129708 w 886"/>
                <a:gd name="T7" fmla="*/ 738879 h 659"/>
                <a:gd name="T8" fmla="*/ 2129708 w 886"/>
                <a:gd name="T9" fmla="*/ 14719 h 659"/>
                <a:gd name="T10" fmla="*/ 1897002 w 886"/>
                <a:gd name="T11" fmla="*/ 0 h 659"/>
                <a:gd name="T12" fmla="*/ 435957 w 886"/>
                <a:gd name="T13" fmla="*/ 556367 h 659"/>
                <a:gd name="T14" fmla="*/ 20620 w 886"/>
                <a:gd name="T15" fmla="*/ 1686763 h 659"/>
                <a:gd name="T16" fmla="*/ 17674 w 886"/>
                <a:gd name="T17" fmla="*/ 1725032 h 659"/>
                <a:gd name="T18" fmla="*/ 0 w 886"/>
                <a:gd name="T19" fmla="*/ 1939925 h 659"/>
                <a:gd name="T20" fmla="*/ 515490 w 886"/>
                <a:gd name="T21" fmla="*/ 1939925 h 659"/>
                <a:gd name="T22" fmla="*/ 515490 w 886"/>
                <a:gd name="T23" fmla="*/ 1939925 h 659"/>
                <a:gd name="T24" fmla="*/ 630370 w 886"/>
                <a:gd name="T25" fmla="*/ 1860444 h 659"/>
                <a:gd name="T26" fmla="*/ 544946 w 886"/>
                <a:gd name="T27" fmla="*/ 1657326 h 659"/>
                <a:gd name="T28" fmla="*/ 916099 w 886"/>
                <a:gd name="T29" fmla="*/ 1657326 h 659"/>
                <a:gd name="T30" fmla="*/ 830675 w 886"/>
                <a:gd name="T31" fmla="*/ 1860444 h 659"/>
                <a:gd name="T32" fmla="*/ 989740 w 886"/>
                <a:gd name="T33" fmla="*/ 1939925 h 659"/>
                <a:gd name="T34" fmla="*/ 2129708 w 886"/>
                <a:gd name="T35" fmla="*/ 1939925 h 659"/>
                <a:gd name="T36" fmla="*/ 2129708 w 886"/>
                <a:gd name="T37" fmla="*/ 1212821 h 659"/>
                <a:gd name="T38" fmla="*/ 2209241 w 886"/>
                <a:gd name="T39" fmla="*/ 1053859 h 659"/>
                <a:gd name="T40" fmla="*/ 2415437 w 886"/>
                <a:gd name="T41" fmla="*/ 1139228 h 659"/>
                <a:gd name="T42" fmla="*/ 2415437 w 886"/>
                <a:gd name="T43" fmla="*/ 768316 h 65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86" h="659">
                  <a:moveTo>
                    <a:pt x="820" y="261"/>
                  </a:moveTo>
                  <a:cubicBezTo>
                    <a:pt x="781" y="255"/>
                    <a:pt x="777" y="277"/>
                    <a:pt x="750" y="290"/>
                  </a:cubicBezTo>
                  <a:cubicBezTo>
                    <a:pt x="737" y="296"/>
                    <a:pt x="726" y="287"/>
                    <a:pt x="724" y="251"/>
                  </a:cubicBezTo>
                  <a:cubicBezTo>
                    <a:pt x="723" y="251"/>
                    <a:pt x="723" y="251"/>
                    <a:pt x="723" y="251"/>
                  </a:cubicBezTo>
                  <a:cubicBezTo>
                    <a:pt x="723" y="5"/>
                    <a:pt x="723" y="5"/>
                    <a:pt x="723" y="5"/>
                  </a:cubicBezTo>
                  <a:cubicBezTo>
                    <a:pt x="697" y="1"/>
                    <a:pt x="671" y="0"/>
                    <a:pt x="644" y="0"/>
                  </a:cubicBezTo>
                  <a:cubicBezTo>
                    <a:pt x="416" y="0"/>
                    <a:pt x="259" y="60"/>
                    <a:pt x="148" y="189"/>
                  </a:cubicBezTo>
                  <a:cubicBezTo>
                    <a:pt x="36" y="319"/>
                    <a:pt x="16" y="497"/>
                    <a:pt x="7" y="573"/>
                  </a:cubicBezTo>
                  <a:cubicBezTo>
                    <a:pt x="7" y="578"/>
                    <a:pt x="6" y="583"/>
                    <a:pt x="6" y="586"/>
                  </a:cubicBezTo>
                  <a:cubicBezTo>
                    <a:pt x="2" y="616"/>
                    <a:pt x="0" y="640"/>
                    <a:pt x="0" y="659"/>
                  </a:cubicBezTo>
                  <a:cubicBezTo>
                    <a:pt x="175" y="659"/>
                    <a:pt x="175" y="659"/>
                    <a:pt x="175" y="659"/>
                  </a:cubicBezTo>
                  <a:cubicBezTo>
                    <a:pt x="175" y="659"/>
                    <a:pt x="175" y="659"/>
                    <a:pt x="175" y="659"/>
                  </a:cubicBezTo>
                  <a:cubicBezTo>
                    <a:pt x="211" y="656"/>
                    <a:pt x="220" y="645"/>
                    <a:pt x="214" y="632"/>
                  </a:cubicBezTo>
                  <a:cubicBezTo>
                    <a:pt x="202" y="605"/>
                    <a:pt x="179" y="601"/>
                    <a:pt x="185" y="563"/>
                  </a:cubicBezTo>
                  <a:cubicBezTo>
                    <a:pt x="195" y="496"/>
                    <a:pt x="301" y="496"/>
                    <a:pt x="311" y="563"/>
                  </a:cubicBezTo>
                  <a:cubicBezTo>
                    <a:pt x="317" y="601"/>
                    <a:pt x="295" y="605"/>
                    <a:pt x="282" y="632"/>
                  </a:cubicBezTo>
                  <a:cubicBezTo>
                    <a:pt x="276" y="647"/>
                    <a:pt x="287" y="659"/>
                    <a:pt x="336" y="659"/>
                  </a:cubicBezTo>
                  <a:cubicBezTo>
                    <a:pt x="723" y="659"/>
                    <a:pt x="723" y="659"/>
                    <a:pt x="723" y="659"/>
                  </a:cubicBezTo>
                  <a:cubicBezTo>
                    <a:pt x="723" y="412"/>
                    <a:pt x="723" y="412"/>
                    <a:pt x="723" y="412"/>
                  </a:cubicBezTo>
                  <a:cubicBezTo>
                    <a:pt x="723" y="363"/>
                    <a:pt x="735" y="352"/>
                    <a:pt x="750" y="358"/>
                  </a:cubicBezTo>
                  <a:cubicBezTo>
                    <a:pt x="777" y="370"/>
                    <a:pt x="781" y="393"/>
                    <a:pt x="820" y="387"/>
                  </a:cubicBezTo>
                  <a:cubicBezTo>
                    <a:pt x="886" y="377"/>
                    <a:pt x="886" y="271"/>
                    <a:pt x="820" y="261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4DAE6340-4B59-4630-9217-60ABBA69E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6417" y="4878979"/>
              <a:ext cx="3819525" cy="2008187"/>
            </a:xfrm>
            <a:custGeom>
              <a:avLst/>
              <a:gdLst>
                <a:gd name="T0" fmla="*/ 424 w 1297"/>
                <a:gd name="T1" fmla="*/ 682 h 682"/>
                <a:gd name="T2" fmla="*/ 1297 w 1297"/>
                <a:gd name="T3" fmla="*/ 682 h 682"/>
                <a:gd name="T4" fmla="*/ 1128 w 1297"/>
                <a:gd name="T5" fmla="*/ 516 h 682"/>
                <a:gd name="T6" fmla="*/ 1040 w 1297"/>
                <a:gd name="T7" fmla="*/ 198 h 682"/>
                <a:gd name="T8" fmla="*/ 1048 w 1297"/>
                <a:gd name="T9" fmla="*/ 162 h 682"/>
                <a:gd name="T10" fmla="*/ 782 w 1297"/>
                <a:gd name="T11" fmla="*/ 162 h 682"/>
                <a:gd name="T12" fmla="*/ 728 w 1297"/>
                <a:gd name="T13" fmla="*/ 136 h 682"/>
                <a:gd name="T14" fmla="*/ 757 w 1297"/>
                <a:gd name="T15" fmla="*/ 66 h 682"/>
                <a:gd name="T16" fmla="*/ 631 w 1297"/>
                <a:gd name="T17" fmla="*/ 66 h 682"/>
                <a:gd name="T18" fmla="*/ 660 w 1297"/>
                <a:gd name="T19" fmla="*/ 136 h 682"/>
                <a:gd name="T20" fmla="*/ 621 w 1297"/>
                <a:gd name="T21" fmla="*/ 162 h 682"/>
                <a:gd name="T22" fmla="*/ 621 w 1297"/>
                <a:gd name="T23" fmla="*/ 162 h 682"/>
                <a:gd name="T24" fmla="*/ 539 w 1297"/>
                <a:gd name="T25" fmla="*/ 162 h 682"/>
                <a:gd name="T26" fmla="*/ 308 w 1297"/>
                <a:gd name="T27" fmla="*/ 162 h 682"/>
                <a:gd name="T28" fmla="*/ 308 w 1297"/>
                <a:gd name="T29" fmla="*/ 163 h 682"/>
                <a:gd name="T30" fmla="*/ 270 w 1297"/>
                <a:gd name="T31" fmla="*/ 189 h 682"/>
                <a:gd name="T32" fmla="*/ 299 w 1297"/>
                <a:gd name="T33" fmla="*/ 259 h 682"/>
                <a:gd name="T34" fmla="*/ 173 w 1297"/>
                <a:gd name="T35" fmla="*/ 259 h 682"/>
                <a:gd name="T36" fmla="*/ 202 w 1297"/>
                <a:gd name="T37" fmla="*/ 189 h 682"/>
                <a:gd name="T38" fmla="*/ 147 w 1297"/>
                <a:gd name="T39" fmla="*/ 162 h 682"/>
                <a:gd name="T40" fmla="*/ 0 w 1297"/>
                <a:gd name="T41" fmla="*/ 162 h 682"/>
                <a:gd name="T42" fmla="*/ 8 w 1297"/>
                <a:gd name="T43" fmla="*/ 173 h 682"/>
                <a:gd name="T44" fmla="*/ 28 w 1297"/>
                <a:gd name="T45" fmla="*/ 249 h 682"/>
                <a:gd name="T46" fmla="*/ 35 w 1297"/>
                <a:gd name="T47" fmla="*/ 256 h 682"/>
                <a:gd name="T48" fmla="*/ 45 w 1297"/>
                <a:gd name="T49" fmla="*/ 288 h 682"/>
                <a:gd name="T50" fmla="*/ 103 w 1297"/>
                <a:gd name="T51" fmla="*/ 473 h 682"/>
                <a:gd name="T52" fmla="*/ 202 w 1297"/>
                <a:gd name="T53" fmla="*/ 491 h 682"/>
                <a:gd name="T54" fmla="*/ 323 w 1297"/>
                <a:gd name="T55" fmla="*/ 478 h 682"/>
                <a:gd name="T56" fmla="*/ 358 w 1297"/>
                <a:gd name="T57" fmla="*/ 473 h 682"/>
                <a:gd name="T58" fmla="*/ 392 w 1297"/>
                <a:gd name="T59" fmla="*/ 468 h 682"/>
                <a:gd name="T60" fmla="*/ 396 w 1297"/>
                <a:gd name="T61" fmla="*/ 467 h 682"/>
                <a:gd name="T62" fmla="*/ 431 w 1297"/>
                <a:gd name="T63" fmla="*/ 571 h 682"/>
                <a:gd name="T64" fmla="*/ 441 w 1297"/>
                <a:gd name="T65" fmla="*/ 633 h 682"/>
                <a:gd name="T66" fmla="*/ 424 w 1297"/>
                <a:gd name="T67" fmla="*/ 682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97" h="682">
                  <a:moveTo>
                    <a:pt x="424" y="682"/>
                  </a:moveTo>
                  <a:cubicBezTo>
                    <a:pt x="1297" y="682"/>
                    <a:pt x="1297" y="682"/>
                    <a:pt x="1297" y="682"/>
                  </a:cubicBezTo>
                  <a:cubicBezTo>
                    <a:pt x="1254" y="649"/>
                    <a:pt x="1161" y="573"/>
                    <a:pt x="1128" y="516"/>
                  </a:cubicBezTo>
                  <a:cubicBezTo>
                    <a:pt x="1102" y="473"/>
                    <a:pt x="1020" y="321"/>
                    <a:pt x="1040" y="198"/>
                  </a:cubicBezTo>
                  <a:cubicBezTo>
                    <a:pt x="1042" y="185"/>
                    <a:pt x="1045" y="173"/>
                    <a:pt x="1048" y="162"/>
                  </a:cubicBezTo>
                  <a:cubicBezTo>
                    <a:pt x="782" y="162"/>
                    <a:pt x="782" y="162"/>
                    <a:pt x="782" y="162"/>
                  </a:cubicBezTo>
                  <a:cubicBezTo>
                    <a:pt x="733" y="162"/>
                    <a:pt x="722" y="150"/>
                    <a:pt x="728" y="136"/>
                  </a:cubicBezTo>
                  <a:cubicBezTo>
                    <a:pt x="741" y="108"/>
                    <a:pt x="763" y="105"/>
                    <a:pt x="757" y="66"/>
                  </a:cubicBezTo>
                  <a:cubicBezTo>
                    <a:pt x="747" y="0"/>
                    <a:pt x="641" y="0"/>
                    <a:pt x="631" y="66"/>
                  </a:cubicBezTo>
                  <a:cubicBezTo>
                    <a:pt x="625" y="105"/>
                    <a:pt x="648" y="108"/>
                    <a:pt x="660" y="136"/>
                  </a:cubicBezTo>
                  <a:cubicBezTo>
                    <a:pt x="666" y="149"/>
                    <a:pt x="657" y="159"/>
                    <a:pt x="621" y="162"/>
                  </a:cubicBezTo>
                  <a:cubicBezTo>
                    <a:pt x="621" y="162"/>
                    <a:pt x="621" y="162"/>
                    <a:pt x="621" y="162"/>
                  </a:cubicBezTo>
                  <a:cubicBezTo>
                    <a:pt x="539" y="162"/>
                    <a:pt x="539" y="162"/>
                    <a:pt x="539" y="162"/>
                  </a:cubicBezTo>
                  <a:cubicBezTo>
                    <a:pt x="308" y="162"/>
                    <a:pt x="308" y="162"/>
                    <a:pt x="308" y="162"/>
                  </a:cubicBezTo>
                  <a:cubicBezTo>
                    <a:pt x="308" y="163"/>
                    <a:pt x="308" y="163"/>
                    <a:pt x="308" y="163"/>
                  </a:cubicBezTo>
                  <a:cubicBezTo>
                    <a:pt x="273" y="165"/>
                    <a:pt x="264" y="176"/>
                    <a:pt x="270" y="189"/>
                  </a:cubicBezTo>
                  <a:cubicBezTo>
                    <a:pt x="282" y="216"/>
                    <a:pt x="305" y="220"/>
                    <a:pt x="299" y="259"/>
                  </a:cubicBezTo>
                  <a:cubicBezTo>
                    <a:pt x="288" y="325"/>
                    <a:pt x="183" y="325"/>
                    <a:pt x="173" y="259"/>
                  </a:cubicBezTo>
                  <a:cubicBezTo>
                    <a:pt x="167" y="220"/>
                    <a:pt x="189" y="216"/>
                    <a:pt x="202" y="189"/>
                  </a:cubicBezTo>
                  <a:cubicBezTo>
                    <a:pt x="208" y="174"/>
                    <a:pt x="197" y="162"/>
                    <a:pt x="147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6" y="193"/>
                    <a:pt x="5" y="227"/>
                    <a:pt x="28" y="249"/>
                  </a:cubicBezTo>
                  <a:cubicBezTo>
                    <a:pt x="30" y="252"/>
                    <a:pt x="33" y="254"/>
                    <a:pt x="35" y="256"/>
                  </a:cubicBezTo>
                  <a:cubicBezTo>
                    <a:pt x="50" y="271"/>
                    <a:pt x="50" y="271"/>
                    <a:pt x="45" y="288"/>
                  </a:cubicBezTo>
                  <a:cubicBezTo>
                    <a:pt x="7" y="403"/>
                    <a:pt x="55" y="452"/>
                    <a:pt x="103" y="473"/>
                  </a:cubicBezTo>
                  <a:cubicBezTo>
                    <a:pt x="130" y="485"/>
                    <a:pt x="163" y="491"/>
                    <a:pt x="202" y="491"/>
                  </a:cubicBezTo>
                  <a:cubicBezTo>
                    <a:pt x="246" y="491"/>
                    <a:pt x="289" y="484"/>
                    <a:pt x="323" y="478"/>
                  </a:cubicBezTo>
                  <a:cubicBezTo>
                    <a:pt x="337" y="476"/>
                    <a:pt x="349" y="474"/>
                    <a:pt x="358" y="473"/>
                  </a:cubicBezTo>
                  <a:cubicBezTo>
                    <a:pt x="372" y="471"/>
                    <a:pt x="383" y="469"/>
                    <a:pt x="392" y="468"/>
                  </a:cubicBezTo>
                  <a:cubicBezTo>
                    <a:pt x="394" y="467"/>
                    <a:pt x="395" y="467"/>
                    <a:pt x="396" y="467"/>
                  </a:cubicBezTo>
                  <a:cubicBezTo>
                    <a:pt x="402" y="498"/>
                    <a:pt x="417" y="548"/>
                    <a:pt x="431" y="571"/>
                  </a:cubicBezTo>
                  <a:cubicBezTo>
                    <a:pt x="442" y="589"/>
                    <a:pt x="446" y="613"/>
                    <a:pt x="441" y="633"/>
                  </a:cubicBezTo>
                  <a:cubicBezTo>
                    <a:pt x="437" y="647"/>
                    <a:pt x="430" y="666"/>
                    <a:pt x="424" y="682"/>
                  </a:cubicBezTo>
                  <a:close/>
                </a:path>
              </a:pathLst>
            </a:custGeom>
            <a:solidFill>
              <a:schemeClr val="accent6"/>
            </a:solidFill>
            <a:ln w="38100">
              <a:solidFill>
                <a:schemeClr val="bg1"/>
              </a:solidFill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6181F09E-105F-4668-89CB-9E8597DA4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3980" y="1759541"/>
              <a:ext cx="1770062" cy="2405063"/>
            </a:xfrm>
            <a:custGeom>
              <a:avLst/>
              <a:gdLst>
                <a:gd name="T0" fmla="*/ 533 w 601"/>
                <a:gd name="T1" fmla="*/ 343 h 817"/>
                <a:gd name="T2" fmla="*/ 400 w 601"/>
                <a:gd name="T3" fmla="*/ 173 h 817"/>
                <a:gd name="T4" fmla="*/ 0 w 601"/>
                <a:gd name="T5" fmla="*/ 0 h 817"/>
                <a:gd name="T6" fmla="*/ 0 w 601"/>
                <a:gd name="T7" fmla="*/ 246 h 817"/>
                <a:gd name="T8" fmla="*/ 1 w 601"/>
                <a:gd name="T9" fmla="*/ 246 h 817"/>
                <a:gd name="T10" fmla="*/ 27 w 601"/>
                <a:gd name="T11" fmla="*/ 285 h 817"/>
                <a:gd name="T12" fmla="*/ 97 w 601"/>
                <a:gd name="T13" fmla="*/ 256 h 817"/>
                <a:gd name="T14" fmla="*/ 97 w 601"/>
                <a:gd name="T15" fmla="*/ 382 h 817"/>
                <a:gd name="T16" fmla="*/ 27 w 601"/>
                <a:gd name="T17" fmla="*/ 353 h 817"/>
                <a:gd name="T18" fmla="*/ 0 w 601"/>
                <a:gd name="T19" fmla="*/ 407 h 817"/>
                <a:gd name="T20" fmla="*/ 0 w 601"/>
                <a:gd name="T21" fmla="*/ 654 h 817"/>
                <a:gd name="T22" fmla="*/ 327 w 601"/>
                <a:gd name="T23" fmla="*/ 654 h 817"/>
                <a:gd name="T24" fmla="*/ 381 w 601"/>
                <a:gd name="T25" fmla="*/ 681 h 817"/>
                <a:gd name="T26" fmla="*/ 352 w 601"/>
                <a:gd name="T27" fmla="*/ 750 h 817"/>
                <a:gd name="T28" fmla="*/ 478 w 601"/>
                <a:gd name="T29" fmla="*/ 750 h 817"/>
                <a:gd name="T30" fmla="*/ 449 w 601"/>
                <a:gd name="T31" fmla="*/ 681 h 817"/>
                <a:gd name="T32" fmla="*/ 488 w 601"/>
                <a:gd name="T33" fmla="*/ 654 h 817"/>
                <a:gd name="T34" fmla="*/ 488 w 601"/>
                <a:gd name="T35" fmla="*/ 654 h 817"/>
                <a:gd name="T36" fmla="*/ 591 w 601"/>
                <a:gd name="T37" fmla="*/ 654 h 817"/>
                <a:gd name="T38" fmla="*/ 594 w 601"/>
                <a:gd name="T39" fmla="*/ 616 h 817"/>
                <a:gd name="T40" fmla="*/ 533 w 601"/>
                <a:gd name="T41" fmla="*/ 343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01" h="817">
                  <a:moveTo>
                    <a:pt x="533" y="343"/>
                  </a:moveTo>
                  <a:cubicBezTo>
                    <a:pt x="488" y="260"/>
                    <a:pt x="431" y="201"/>
                    <a:pt x="400" y="173"/>
                  </a:cubicBezTo>
                  <a:cubicBezTo>
                    <a:pt x="333" y="110"/>
                    <a:pt x="179" y="21"/>
                    <a:pt x="0" y="0"/>
                  </a:cubicBezTo>
                  <a:cubicBezTo>
                    <a:pt x="0" y="246"/>
                    <a:pt x="0" y="246"/>
                    <a:pt x="0" y="246"/>
                  </a:cubicBezTo>
                  <a:cubicBezTo>
                    <a:pt x="1" y="246"/>
                    <a:pt x="1" y="246"/>
                    <a:pt x="1" y="246"/>
                  </a:cubicBezTo>
                  <a:cubicBezTo>
                    <a:pt x="3" y="282"/>
                    <a:pt x="14" y="291"/>
                    <a:pt x="27" y="285"/>
                  </a:cubicBezTo>
                  <a:cubicBezTo>
                    <a:pt x="54" y="272"/>
                    <a:pt x="58" y="250"/>
                    <a:pt x="97" y="256"/>
                  </a:cubicBezTo>
                  <a:cubicBezTo>
                    <a:pt x="163" y="266"/>
                    <a:pt x="163" y="372"/>
                    <a:pt x="97" y="382"/>
                  </a:cubicBezTo>
                  <a:cubicBezTo>
                    <a:pt x="58" y="388"/>
                    <a:pt x="54" y="365"/>
                    <a:pt x="27" y="353"/>
                  </a:cubicBezTo>
                  <a:cubicBezTo>
                    <a:pt x="12" y="347"/>
                    <a:pt x="0" y="358"/>
                    <a:pt x="0" y="407"/>
                  </a:cubicBezTo>
                  <a:cubicBezTo>
                    <a:pt x="0" y="654"/>
                    <a:pt x="0" y="654"/>
                    <a:pt x="0" y="654"/>
                  </a:cubicBezTo>
                  <a:cubicBezTo>
                    <a:pt x="327" y="654"/>
                    <a:pt x="327" y="654"/>
                    <a:pt x="327" y="654"/>
                  </a:cubicBezTo>
                  <a:cubicBezTo>
                    <a:pt x="376" y="654"/>
                    <a:pt x="388" y="666"/>
                    <a:pt x="381" y="681"/>
                  </a:cubicBezTo>
                  <a:cubicBezTo>
                    <a:pt x="369" y="708"/>
                    <a:pt x="346" y="712"/>
                    <a:pt x="352" y="750"/>
                  </a:cubicBezTo>
                  <a:cubicBezTo>
                    <a:pt x="363" y="817"/>
                    <a:pt x="468" y="817"/>
                    <a:pt x="478" y="750"/>
                  </a:cubicBezTo>
                  <a:cubicBezTo>
                    <a:pt x="484" y="712"/>
                    <a:pt x="462" y="708"/>
                    <a:pt x="449" y="681"/>
                  </a:cubicBezTo>
                  <a:cubicBezTo>
                    <a:pt x="444" y="668"/>
                    <a:pt x="452" y="657"/>
                    <a:pt x="488" y="654"/>
                  </a:cubicBezTo>
                  <a:cubicBezTo>
                    <a:pt x="488" y="654"/>
                    <a:pt x="488" y="654"/>
                    <a:pt x="488" y="654"/>
                  </a:cubicBezTo>
                  <a:cubicBezTo>
                    <a:pt x="591" y="654"/>
                    <a:pt x="591" y="654"/>
                    <a:pt x="591" y="654"/>
                  </a:cubicBezTo>
                  <a:cubicBezTo>
                    <a:pt x="592" y="642"/>
                    <a:pt x="593" y="629"/>
                    <a:pt x="594" y="616"/>
                  </a:cubicBezTo>
                  <a:cubicBezTo>
                    <a:pt x="601" y="524"/>
                    <a:pt x="580" y="432"/>
                    <a:pt x="533" y="343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bg1"/>
              </a:solidFill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F8C44D65-1F75-490C-A678-1D043521A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492" y="3685179"/>
              <a:ext cx="2720975" cy="1671637"/>
            </a:xfrm>
            <a:custGeom>
              <a:avLst/>
              <a:gdLst>
                <a:gd name="T0" fmla="*/ 821 w 924"/>
                <a:gd name="T1" fmla="*/ 0 h 568"/>
                <a:gd name="T2" fmla="*/ 821 w 924"/>
                <a:gd name="T3" fmla="*/ 0 h 568"/>
                <a:gd name="T4" fmla="*/ 782 w 924"/>
                <a:gd name="T5" fmla="*/ 27 h 568"/>
                <a:gd name="T6" fmla="*/ 811 w 924"/>
                <a:gd name="T7" fmla="*/ 96 h 568"/>
                <a:gd name="T8" fmla="*/ 685 w 924"/>
                <a:gd name="T9" fmla="*/ 96 h 568"/>
                <a:gd name="T10" fmla="*/ 714 w 924"/>
                <a:gd name="T11" fmla="*/ 27 h 568"/>
                <a:gd name="T12" fmla="*/ 660 w 924"/>
                <a:gd name="T13" fmla="*/ 0 h 568"/>
                <a:gd name="T14" fmla="*/ 333 w 924"/>
                <a:gd name="T15" fmla="*/ 0 h 568"/>
                <a:gd name="T16" fmla="*/ 163 w 924"/>
                <a:gd name="T17" fmla="*/ 0 h 568"/>
                <a:gd name="T18" fmla="*/ 163 w 924"/>
                <a:gd name="T19" fmla="*/ 194 h 568"/>
                <a:gd name="T20" fmla="*/ 136 w 924"/>
                <a:gd name="T21" fmla="*/ 248 h 568"/>
                <a:gd name="T22" fmla="*/ 66 w 924"/>
                <a:gd name="T23" fmla="*/ 219 h 568"/>
                <a:gd name="T24" fmla="*/ 66 w 924"/>
                <a:gd name="T25" fmla="*/ 345 h 568"/>
                <a:gd name="T26" fmla="*/ 136 w 924"/>
                <a:gd name="T27" fmla="*/ 317 h 568"/>
                <a:gd name="T28" fmla="*/ 162 w 924"/>
                <a:gd name="T29" fmla="*/ 355 h 568"/>
                <a:gd name="T30" fmla="*/ 163 w 924"/>
                <a:gd name="T31" fmla="*/ 355 h 568"/>
                <a:gd name="T32" fmla="*/ 163 w 924"/>
                <a:gd name="T33" fmla="*/ 568 h 568"/>
                <a:gd name="T34" fmla="*/ 245 w 924"/>
                <a:gd name="T35" fmla="*/ 568 h 568"/>
                <a:gd name="T36" fmla="*/ 245 w 924"/>
                <a:gd name="T37" fmla="*/ 568 h 568"/>
                <a:gd name="T38" fmla="*/ 284 w 924"/>
                <a:gd name="T39" fmla="*/ 542 h 568"/>
                <a:gd name="T40" fmla="*/ 255 w 924"/>
                <a:gd name="T41" fmla="*/ 472 h 568"/>
                <a:gd name="T42" fmla="*/ 381 w 924"/>
                <a:gd name="T43" fmla="*/ 472 h 568"/>
                <a:gd name="T44" fmla="*/ 352 w 924"/>
                <a:gd name="T45" fmla="*/ 542 h 568"/>
                <a:gd name="T46" fmla="*/ 406 w 924"/>
                <a:gd name="T47" fmla="*/ 568 h 568"/>
                <a:gd name="T48" fmla="*/ 672 w 924"/>
                <a:gd name="T49" fmla="*/ 568 h 568"/>
                <a:gd name="T50" fmla="*/ 730 w 924"/>
                <a:gd name="T51" fmla="*/ 477 h 568"/>
                <a:gd name="T52" fmla="*/ 797 w 924"/>
                <a:gd name="T53" fmla="*/ 385 h 568"/>
                <a:gd name="T54" fmla="*/ 924 w 924"/>
                <a:gd name="T55" fmla="*/ 0 h 568"/>
                <a:gd name="T56" fmla="*/ 821 w 924"/>
                <a:gd name="T57" fmla="*/ 0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24" h="568">
                  <a:moveTo>
                    <a:pt x="821" y="0"/>
                  </a:moveTo>
                  <a:cubicBezTo>
                    <a:pt x="821" y="0"/>
                    <a:pt x="821" y="0"/>
                    <a:pt x="821" y="0"/>
                  </a:cubicBezTo>
                  <a:cubicBezTo>
                    <a:pt x="785" y="3"/>
                    <a:pt x="777" y="14"/>
                    <a:pt x="782" y="27"/>
                  </a:cubicBezTo>
                  <a:cubicBezTo>
                    <a:pt x="795" y="54"/>
                    <a:pt x="817" y="58"/>
                    <a:pt x="811" y="96"/>
                  </a:cubicBezTo>
                  <a:cubicBezTo>
                    <a:pt x="801" y="163"/>
                    <a:pt x="696" y="163"/>
                    <a:pt x="685" y="96"/>
                  </a:cubicBezTo>
                  <a:cubicBezTo>
                    <a:pt x="679" y="58"/>
                    <a:pt x="702" y="54"/>
                    <a:pt x="714" y="27"/>
                  </a:cubicBezTo>
                  <a:cubicBezTo>
                    <a:pt x="721" y="12"/>
                    <a:pt x="709" y="0"/>
                    <a:pt x="660" y="0"/>
                  </a:cubicBezTo>
                  <a:cubicBezTo>
                    <a:pt x="333" y="0"/>
                    <a:pt x="333" y="0"/>
                    <a:pt x="333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3" y="194"/>
                    <a:pt x="163" y="194"/>
                    <a:pt x="163" y="194"/>
                  </a:cubicBezTo>
                  <a:cubicBezTo>
                    <a:pt x="163" y="243"/>
                    <a:pt x="151" y="255"/>
                    <a:pt x="136" y="248"/>
                  </a:cubicBezTo>
                  <a:cubicBezTo>
                    <a:pt x="109" y="236"/>
                    <a:pt x="105" y="213"/>
                    <a:pt x="66" y="219"/>
                  </a:cubicBezTo>
                  <a:cubicBezTo>
                    <a:pt x="0" y="230"/>
                    <a:pt x="0" y="335"/>
                    <a:pt x="66" y="345"/>
                  </a:cubicBezTo>
                  <a:cubicBezTo>
                    <a:pt x="105" y="351"/>
                    <a:pt x="109" y="329"/>
                    <a:pt x="136" y="317"/>
                  </a:cubicBezTo>
                  <a:cubicBezTo>
                    <a:pt x="149" y="311"/>
                    <a:pt x="160" y="319"/>
                    <a:pt x="162" y="355"/>
                  </a:cubicBezTo>
                  <a:cubicBezTo>
                    <a:pt x="163" y="355"/>
                    <a:pt x="163" y="355"/>
                    <a:pt x="163" y="355"/>
                  </a:cubicBezTo>
                  <a:cubicBezTo>
                    <a:pt x="163" y="568"/>
                    <a:pt x="163" y="568"/>
                    <a:pt x="163" y="568"/>
                  </a:cubicBezTo>
                  <a:cubicBezTo>
                    <a:pt x="245" y="568"/>
                    <a:pt x="245" y="568"/>
                    <a:pt x="245" y="568"/>
                  </a:cubicBezTo>
                  <a:cubicBezTo>
                    <a:pt x="245" y="568"/>
                    <a:pt x="245" y="568"/>
                    <a:pt x="245" y="568"/>
                  </a:cubicBezTo>
                  <a:cubicBezTo>
                    <a:pt x="281" y="565"/>
                    <a:pt x="290" y="555"/>
                    <a:pt x="284" y="542"/>
                  </a:cubicBezTo>
                  <a:cubicBezTo>
                    <a:pt x="272" y="514"/>
                    <a:pt x="249" y="511"/>
                    <a:pt x="255" y="472"/>
                  </a:cubicBezTo>
                  <a:cubicBezTo>
                    <a:pt x="265" y="406"/>
                    <a:pt x="371" y="406"/>
                    <a:pt x="381" y="472"/>
                  </a:cubicBezTo>
                  <a:cubicBezTo>
                    <a:pt x="387" y="511"/>
                    <a:pt x="365" y="514"/>
                    <a:pt x="352" y="542"/>
                  </a:cubicBezTo>
                  <a:cubicBezTo>
                    <a:pt x="346" y="556"/>
                    <a:pt x="357" y="568"/>
                    <a:pt x="406" y="568"/>
                  </a:cubicBezTo>
                  <a:cubicBezTo>
                    <a:pt x="672" y="568"/>
                    <a:pt x="672" y="568"/>
                    <a:pt x="672" y="568"/>
                  </a:cubicBezTo>
                  <a:cubicBezTo>
                    <a:pt x="685" y="529"/>
                    <a:pt x="705" y="505"/>
                    <a:pt x="730" y="477"/>
                  </a:cubicBezTo>
                  <a:cubicBezTo>
                    <a:pt x="751" y="453"/>
                    <a:pt x="775" y="425"/>
                    <a:pt x="797" y="385"/>
                  </a:cubicBezTo>
                  <a:cubicBezTo>
                    <a:pt x="851" y="285"/>
                    <a:pt x="905" y="173"/>
                    <a:pt x="924" y="0"/>
                  </a:cubicBezTo>
                  <a:lnTo>
                    <a:pt x="821" y="0"/>
                  </a:lnTo>
                  <a:close/>
                </a:path>
              </a:pathLst>
            </a:custGeom>
            <a:solidFill>
              <a:schemeClr val="accent5"/>
            </a:solidFill>
            <a:ln w="38100">
              <a:solidFill>
                <a:schemeClr val="bg1"/>
              </a:solidFill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656F272-8BC1-4F80-B8D2-3F5C11C74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8117" y="3205754"/>
              <a:ext cx="1955800" cy="2630487"/>
            </a:xfrm>
            <a:custGeom>
              <a:avLst/>
              <a:gdLst>
                <a:gd name="T0" fmla="*/ 567 w 664"/>
                <a:gd name="T1" fmla="*/ 382 h 894"/>
                <a:gd name="T2" fmla="*/ 637 w 664"/>
                <a:gd name="T3" fmla="*/ 411 h 894"/>
                <a:gd name="T4" fmla="*/ 664 w 664"/>
                <a:gd name="T5" fmla="*/ 357 h 894"/>
                <a:gd name="T6" fmla="*/ 664 w 664"/>
                <a:gd name="T7" fmla="*/ 163 h 894"/>
                <a:gd name="T8" fmla="*/ 447 w 664"/>
                <a:gd name="T9" fmla="*/ 163 h 894"/>
                <a:gd name="T10" fmla="*/ 393 w 664"/>
                <a:gd name="T11" fmla="*/ 136 h 894"/>
                <a:gd name="T12" fmla="*/ 422 w 664"/>
                <a:gd name="T13" fmla="*/ 67 h 894"/>
                <a:gd name="T14" fmla="*/ 296 w 664"/>
                <a:gd name="T15" fmla="*/ 67 h 894"/>
                <a:gd name="T16" fmla="*/ 325 w 664"/>
                <a:gd name="T17" fmla="*/ 136 h 894"/>
                <a:gd name="T18" fmla="*/ 286 w 664"/>
                <a:gd name="T19" fmla="*/ 163 h 894"/>
                <a:gd name="T20" fmla="*/ 286 w 664"/>
                <a:gd name="T21" fmla="*/ 163 h 894"/>
                <a:gd name="T22" fmla="*/ 111 w 664"/>
                <a:gd name="T23" fmla="*/ 163 h 894"/>
                <a:gd name="T24" fmla="*/ 130 w 664"/>
                <a:gd name="T25" fmla="*/ 225 h 894"/>
                <a:gd name="T26" fmla="*/ 135 w 664"/>
                <a:gd name="T27" fmla="*/ 285 h 894"/>
                <a:gd name="T28" fmla="*/ 29 w 664"/>
                <a:gd name="T29" fmla="*/ 465 h 894"/>
                <a:gd name="T30" fmla="*/ 14 w 664"/>
                <a:gd name="T31" fmla="*/ 558 h 894"/>
                <a:gd name="T32" fmla="*/ 65 w 664"/>
                <a:gd name="T33" fmla="*/ 598 h 894"/>
                <a:gd name="T34" fmla="*/ 132 w 664"/>
                <a:gd name="T35" fmla="*/ 632 h 894"/>
                <a:gd name="T36" fmla="*/ 123 w 664"/>
                <a:gd name="T37" fmla="*/ 658 h 894"/>
                <a:gd name="T38" fmla="*/ 125 w 664"/>
                <a:gd name="T39" fmla="*/ 731 h 894"/>
                <a:gd name="T40" fmla="*/ 272 w 664"/>
                <a:gd name="T41" fmla="*/ 731 h 894"/>
                <a:gd name="T42" fmla="*/ 327 w 664"/>
                <a:gd name="T43" fmla="*/ 758 h 894"/>
                <a:gd name="T44" fmla="*/ 298 w 664"/>
                <a:gd name="T45" fmla="*/ 828 h 894"/>
                <a:gd name="T46" fmla="*/ 424 w 664"/>
                <a:gd name="T47" fmla="*/ 828 h 894"/>
                <a:gd name="T48" fmla="*/ 395 w 664"/>
                <a:gd name="T49" fmla="*/ 758 h 894"/>
                <a:gd name="T50" fmla="*/ 433 w 664"/>
                <a:gd name="T51" fmla="*/ 732 h 894"/>
                <a:gd name="T52" fmla="*/ 433 w 664"/>
                <a:gd name="T53" fmla="*/ 731 h 894"/>
                <a:gd name="T54" fmla="*/ 664 w 664"/>
                <a:gd name="T55" fmla="*/ 731 h 894"/>
                <a:gd name="T56" fmla="*/ 664 w 664"/>
                <a:gd name="T57" fmla="*/ 518 h 894"/>
                <a:gd name="T58" fmla="*/ 663 w 664"/>
                <a:gd name="T59" fmla="*/ 518 h 894"/>
                <a:gd name="T60" fmla="*/ 637 w 664"/>
                <a:gd name="T61" fmla="*/ 480 h 894"/>
                <a:gd name="T62" fmla="*/ 567 w 664"/>
                <a:gd name="T63" fmla="*/ 508 h 894"/>
                <a:gd name="T64" fmla="*/ 567 w 664"/>
                <a:gd name="T65" fmla="*/ 382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64" h="894">
                  <a:moveTo>
                    <a:pt x="567" y="382"/>
                  </a:moveTo>
                  <a:cubicBezTo>
                    <a:pt x="606" y="376"/>
                    <a:pt x="610" y="399"/>
                    <a:pt x="637" y="411"/>
                  </a:cubicBezTo>
                  <a:cubicBezTo>
                    <a:pt x="652" y="418"/>
                    <a:pt x="664" y="406"/>
                    <a:pt x="664" y="357"/>
                  </a:cubicBezTo>
                  <a:cubicBezTo>
                    <a:pt x="664" y="163"/>
                    <a:pt x="664" y="163"/>
                    <a:pt x="664" y="163"/>
                  </a:cubicBezTo>
                  <a:cubicBezTo>
                    <a:pt x="447" y="163"/>
                    <a:pt x="447" y="163"/>
                    <a:pt x="447" y="163"/>
                  </a:cubicBezTo>
                  <a:cubicBezTo>
                    <a:pt x="398" y="163"/>
                    <a:pt x="387" y="151"/>
                    <a:pt x="393" y="136"/>
                  </a:cubicBezTo>
                  <a:cubicBezTo>
                    <a:pt x="406" y="109"/>
                    <a:pt x="428" y="105"/>
                    <a:pt x="422" y="67"/>
                  </a:cubicBezTo>
                  <a:cubicBezTo>
                    <a:pt x="412" y="0"/>
                    <a:pt x="306" y="0"/>
                    <a:pt x="296" y="67"/>
                  </a:cubicBezTo>
                  <a:cubicBezTo>
                    <a:pt x="290" y="105"/>
                    <a:pt x="313" y="109"/>
                    <a:pt x="325" y="136"/>
                  </a:cubicBezTo>
                  <a:cubicBezTo>
                    <a:pt x="331" y="149"/>
                    <a:pt x="322" y="160"/>
                    <a:pt x="286" y="163"/>
                  </a:cubicBezTo>
                  <a:cubicBezTo>
                    <a:pt x="286" y="163"/>
                    <a:pt x="286" y="163"/>
                    <a:pt x="286" y="163"/>
                  </a:cubicBezTo>
                  <a:cubicBezTo>
                    <a:pt x="111" y="163"/>
                    <a:pt x="111" y="163"/>
                    <a:pt x="111" y="163"/>
                  </a:cubicBezTo>
                  <a:cubicBezTo>
                    <a:pt x="111" y="192"/>
                    <a:pt x="116" y="212"/>
                    <a:pt x="130" y="225"/>
                  </a:cubicBezTo>
                  <a:cubicBezTo>
                    <a:pt x="150" y="245"/>
                    <a:pt x="151" y="263"/>
                    <a:pt x="135" y="285"/>
                  </a:cubicBezTo>
                  <a:cubicBezTo>
                    <a:pt x="98" y="338"/>
                    <a:pt x="43" y="437"/>
                    <a:pt x="29" y="465"/>
                  </a:cubicBezTo>
                  <a:cubicBezTo>
                    <a:pt x="19" y="486"/>
                    <a:pt x="0" y="524"/>
                    <a:pt x="14" y="558"/>
                  </a:cubicBezTo>
                  <a:cubicBezTo>
                    <a:pt x="20" y="571"/>
                    <a:pt x="34" y="589"/>
                    <a:pt x="65" y="598"/>
                  </a:cubicBezTo>
                  <a:cubicBezTo>
                    <a:pt x="132" y="619"/>
                    <a:pt x="132" y="631"/>
                    <a:pt x="132" y="632"/>
                  </a:cubicBezTo>
                  <a:cubicBezTo>
                    <a:pt x="130" y="642"/>
                    <a:pt x="126" y="650"/>
                    <a:pt x="123" y="658"/>
                  </a:cubicBezTo>
                  <a:cubicBezTo>
                    <a:pt x="115" y="677"/>
                    <a:pt x="105" y="704"/>
                    <a:pt x="125" y="731"/>
                  </a:cubicBezTo>
                  <a:cubicBezTo>
                    <a:pt x="272" y="731"/>
                    <a:pt x="272" y="731"/>
                    <a:pt x="272" y="731"/>
                  </a:cubicBezTo>
                  <a:cubicBezTo>
                    <a:pt x="322" y="731"/>
                    <a:pt x="333" y="743"/>
                    <a:pt x="327" y="758"/>
                  </a:cubicBezTo>
                  <a:cubicBezTo>
                    <a:pt x="314" y="785"/>
                    <a:pt x="292" y="789"/>
                    <a:pt x="298" y="828"/>
                  </a:cubicBezTo>
                  <a:cubicBezTo>
                    <a:pt x="308" y="894"/>
                    <a:pt x="413" y="894"/>
                    <a:pt x="424" y="828"/>
                  </a:cubicBezTo>
                  <a:cubicBezTo>
                    <a:pt x="430" y="789"/>
                    <a:pt x="407" y="785"/>
                    <a:pt x="395" y="758"/>
                  </a:cubicBezTo>
                  <a:cubicBezTo>
                    <a:pt x="389" y="745"/>
                    <a:pt x="398" y="734"/>
                    <a:pt x="433" y="732"/>
                  </a:cubicBezTo>
                  <a:cubicBezTo>
                    <a:pt x="433" y="731"/>
                    <a:pt x="433" y="731"/>
                    <a:pt x="433" y="731"/>
                  </a:cubicBezTo>
                  <a:cubicBezTo>
                    <a:pt x="664" y="731"/>
                    <a:pt x="664" y="731"/>
                    <a:pt x="664" y="731"/>
                  </a:cubicBezTo>
                  <a:cubicBezTo>
                    <a:pt x="664" y="518"/>
                    <a:pt x="664" y="518"/>
                    <a:pt x="664" y="518"/>
                  </a:cubicBezTo>
                  <a:cubicBezTo>
                    <a:pt x="663" y="518"/>
                    <a:pt x="663" y="518"/>
                    <a:pt x="663" y="518"/>
                  </a:cubicBezTo>
                  <a:cubicBezTo>
                    <a:pt x="661" y="482"/>
                    <a:pt x="650" y="474"/>
                    <a:pt x="637" y="480"/>
                  </a:cubicBezTo>
                  <a:cubicBezTo>
                    <a:pt x="610" y="492"/>
                    <a:pt x="606" y="514"/>
                    <a:pt x="567" y="508"/>
                  </a:cubicBezTo>
                  <a:cubicBezTo>
                    <a:pt x="501" y="498"/>
                    <a:pt x="501" y="393"/>
                    <a:pt x="567" y="382"/>
                  </a:cubicBezTo>
                  <a:close/>
                </a:path>
              </a:pathLst>
            </a:custGeom>
            <a:solidFill>
              <a:schemeClr val="accent4"/>
            </a:solidFill>
            <a:ln w="38100">
              <a:solidFill>
                <a:schemeClr val="bg1"/>
              </a:solidFill>
            </a:ln>
            <a:extLst>
              <a:ext uri="{91240B29-F687-4f45-9708-019B960494DF}"/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</a:endParaRPr>
            </a:p>
          </p:txBody>
        </p:sp>
      </p:grpSp>
      <p:sp>
        <p:nvSpPr>
          <p:cNvPr id="11" name="Rectangle 12">
            <a:extLst>
              <a:ext uri="{FF2B5EF4-FFF2-40B4-BE49-F238E27FC236}">
                <a16:creationId xmlns:a16="http://schemas.microsoft.com/office/drawing/2014/main" id="{96B01620-C63E-4AF5-A0FB-452B672680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9065" y="1108869"/>
            <a:ext cx="779463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id-ID" altLang="zh-CN" sz="4800">
                <a:solidFill>
                  <a:schemeClr val="bg1"/>
                </a:solidFill>
                <a:latin typeface="Modern Pictograms" pitchFamily="50" charset="0"/>
              </a:rPr>
              <a:t>a</a:t>
            </a:r>
            <a:endParaRPr lang="en-US" altLang="zh-CN" sz="4800">
              <a:solidFill>
                <a:schemeClr val="bg1"/>
              </a:solidFill>
            </a:endParaRPr>
          </a:p>
        </p:txBody>
      </p:sp>
      <p:sp>
        <p:nvSpPr>
          <p:cNvPr id="12" name="Rectangle 13">
            <a:extLst>
              <a:ext uri="{FF2B5EF4-FFF2-40B4-BE49-F238E27FC236}">
                <a16:creationId xmlns:a16="http://schemas.microsoft.com/office/drawing/2014/main" id="{883D29B3-577F-4588-B213-BD1E944BE3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7090" y="4572794"/>
            <a:ext cx="646113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id-ID" altLang="zh-CN" sz="4800">
                <a:solidFill>
                  <a:schemeClr val="bg1"/>
                </a:solidFill>
                <a:latin typeface="Modern Pictograms" pitchFamily="50" charset="0"/>
              </a:rPr>
              <a:t>J</a:t>
            </a:r>
            <a:endParaRPr lang="en-US" altLang="zh-CN" sz="4800">
              <a:solidFill>
                <a:schemeClr val="bg1"/>
              </a:solidFill>
            </a:endParaRPr>
          </a:p>
        </p:txBody>
      </p:sp>
      <p:sp>
        <p:nvSpPr>
          <p:cNvPr id="13" name="Rectangle 14">
            <a:extLst>
              <a:ext uri="{FF2B5EF4-FFF2-40B4-BE49-F238E27FC236}">
                <a16:creationId xmlns:a16="http://schemas.microsoft.com/office/drawing/2014/main" id="{BAF5A998-8D9A-4402-96E7-9219C53C46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1828" y="2864644"/>
            <a:ext cx="744537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id-ID" altLang="zh-CN" sz="4000">
                <a:solidFill>
                  <a:schemeClr val="bg1"/>
                </a:solidFill>
                <a:latin typeface="Modern Pictograms" pitchFamily="50" charset="0"/>
              </a:rPr>
              <a:t>I</a:t>
            </a:r>
            <a:endParaRPr lang="en-US" altLang="zh-CN" sz="4000">
              <a:solidFill>
                <a:schemeClr val="bg1"/>
              </a:solidFill>
            </a:endParaRPr>
          </a:p>
        </p:txBody>
      </p:sp>
      <p:sp>
        <p:nvSpPr>
          <p:cNvPr id="14" name="Rectangle 15">
            <a:extLst>
              <a:ext uri="{FF2B5EF4-FFF2-40B4-BE49-F238E27FC236}">
                <a16:creationId xmlns:a16="http://schemas.microsoft.com/office/drawing/2014/main" id="{9DD74A4E-C70D-4865-8E9C-DAF4E61C1B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0165" y="2755106"/>
            <a:ext cx="68103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id-ID" altLang="zh-CN" sz="4800">
                <a:solidFill>
                  <a:schemeClr val="bg1"/>
                </a:solidFill>
                <a:latin typeface="Modern Pictograms" pitchFamily="50" charset="0"/>
              </a:rPr>
              <a:t>i</a:t>
            </a:r>
            <a:endParaRPr lang="en-US" altLang="zh-CN" sz="4800">
              <a:solidFill>
                <a:schemeClr val="bg1"/>
              </a:solidFill>
            </a:endParaRPr>
          </a:p>
        </p:txBody>
      </p:sp>
      <p:sp>
        <p:nvSpPr>
          <p:cNvPr id="15" name="Rectangle 16">
            <a:extLst>
              <a:ext uri="{FF2B5EF4-FFF2-40B4-BE49-F238E27FC236}">
                <a16:creationId xmlns:a16="http://schemas.microsoft.com/office/drawing/2014/main" id="{4376D814-7643-4327-ADCE-0248895BCF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0378" y="1242219"/>
            <a:ext cx="608012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id-ID" altLang="zh-CN" sz="4800">
                <a:solidFill>
                  <a:schemeClr val="bg1"/>
                </a:solidFill>
                <a:latin typeface="Modern Pictograms" pitchFamily="50" charset="0"/>
              </a:rPr>
              <a:t>s</a:t>
            </a:r>
            <a:endParaRPr lang="en-US" altLang="zh-CN" sz="4800">
              <a:solidFill>
                <a:schemeClr val="bg1"/>
              </a:solidFill>
            </a:endParaRPr>
          </a:p>
        </p:txBody>
      </p:sp>
      <p:sp>
        <p:nvSpPr>
          <p:cNvPr id="16" name="Rectangle 1436">
            <a:extLst>
              <a:ext uri="{FF2B5EF4-FFF2-40B4-BE49-F238E27FC236}">
                <a16:creationId xmlns:a16="http://schemas.microsoft.com/office/drawing/2014/main" id="{CAD4F693-D325-496E-A52E-B0463C446A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7940" y="1842294"/>
            <a:ext cx="1027113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id-ID" altLang="zh-CN" sz="1600" b="1">
                <a:solidFill>
                  <a:schemeClr val="bg1"/>
                </a:solidFill>
                <a:cs typeface="Arial" panose="020B0604020202020204" pitchFamily="34" charset="0"/>
              </a:rPr>
              <a:t>Web Coding</a:t>
            </a:r>
            <a:endParaRPr lang="en-US" altLang="zh-CN" sz="16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7" name="Rectangle 1436">
            <a:extLst>
              <a:ext uri="{FF2B5EF4-FFF2-40B4-BE49-F238E27FC236}">
                <a16:creationId xmlns:a16="http://schemas.microsoft.com/office/drawing/2014/main" id="{662E5C4D-D1FF-472A-95C7-1CED0FFDA0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7640" y="2099469"/>
            <a:ext cx="1122363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id-ID" altLang="zh-CN" sz="1600" b="1">
                <a:solidFill>
                  <a:schemeClr val="bg1"/>
                </a:solidFill>
                <a:cs typeface="Arial" panose="020B0604020202020204" pitchFamily="34" charset="0"/>
              </a:rPr>
              <a:t>Globalization</a:t>
            </a:r>
            <a:endParaRPr lang="en-US" altLang="zh-CN" sz="16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8" name="Rectangle 1436">
            <a:extLst>
              <a:ext uri="{FF2B5EF4-FFF2-40B4-BE49-F238E27FC236}">
                <a16:creationId xmlns:a16="http://schemas.microsoft.com/office/drawing/2014/main" id="{E92E6C2F-6171-477C-B8B7-9BC2CADC81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4703" y="5279231"/>
            <a:ext cx="75247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id-ID" altLang="zh-CN" sz="1600" b="1">
                <a:solidFill>
                  <a:schemeClr val="bg1"/>
                </a:solidFill>
                <a:cs typeface="Arial" panose="020B0604020202020204" pitchFamily="34" charset="0"/>
              </a:rPr>
              <a:t>Price Tag</a:t>
            </a:r>
            <a:endParaRPr lang="en-US" altLang="zh-CN" sz="16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9" name="Rectangle 1436">
            <a:extLst>
              <a:ext uri="{FF2B5EF4-FFF2-40B4-BE49-F238E27FC236}">
                <a16:creationId xmlns:a16="http://schemas.microsoft.com/office/drawing/2014/main" id="{8C767762-2816-4B7E-9128-D8C27F633D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8415" y="3482181"/>
            <a:ext cx="8382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id-ID" altLang="zh-CN" sz="1600" b="1">
                <a:solidFill>
                  <a:schemeClr val="bg1"/>
                </a:solidFill>
                <a:cs typeface="Arial" panose="020B0604020202020204" pitchFamily="34" charset="0"/>
              </a:rPr>
              <a:t>Trolly Boy</a:t>
            </a:r>
            <a:endParaRPr lang="en-US" altLang="zh-CN" sz="16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0" name="Rectangle 1436">
            <a:extLst>
              <a:ext uri="{FF2B5EF4-FFF2-40B4-BE49-F238E27FC236}">
                <a16:creationId xmlns:a16="http://schemas.microsoft.com/office/drawing/2014/main" id="{55EAF7E3-2285-41F4-9053-456551C0F8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99428" y="3536156"/>
            <a:ext cx="871537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id-ID" altLang="zh-CN" sz="1600" b="1">
                <a:solidFill>
                  <a:schemeClr val="bg1"/>
                </a:solidFill>
                <a:cs typeface="Arial" panose="020B0604020202020204" pitchFamily="34" charset="0"/>
              </a:rPr>
              <a:t>Big Basket</a:t>
            </a:r>
            <a:endParaRPr lang="en-US" altLang="zh-CN" sz="16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21" name="Group 22">
            <a:extLst>
              <a:ext uri="{FF2B5EF4-FFF2-40B4-BE49-F238E27FC236}">
                <a16:creationId xmlns:a16="http://schemas.microsoft.com/office/drawing/2014/main" id="{0A1BD7B2-3F3E-4743-8DA7-4B0428000504}"/>
              </a:ext>
            </a:extLst>
          </p:cNvPr>
          <p:cNvGrpSpPr>
            <a:grpSpLocks/>
          </p:cNvGrpSpPr>
          <p:nvPr/>
        </p:nvGrpSpPr>
        <p:grpSpPr bwMode="auto">
          <a:xfrm>
            <a:off x="8549165" y="1531144"/>
            <a:ext cx="2659063" cy="3779837"/>
            <a:chOff x="8375770" y="2401463"/>
            <a:chExt cx="2659477" cy="3780430"/>
          </a:xfrm>
        </p:grpSpPr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D77CE7D1-C415-4461-9793-52CC0FDBD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75770" y="2476087"/>
              <a:ext cx="558887" cy="536659"/>
            </a:xfrm>
            <a:custGeom>
              <a:avLst/>
              <a:gdLst>
                <a:gd name="T0" fmla="*/ 175 w 296"/>
                <a:gd name="T1" fmla="*/ 126 h 284"/>
                <a:gd name="T2" fmla="*/ 263 w 296"/>
                <a:gd name="T3" fmla="*/ 42 h 284"/>
                <a:gd name="T4" fmla="*/ 268 w 296"/>
                <a:gd name="T5" fmla="*/ 15 h 284"/>
                <a:gd name="T6" fmla="*/ 241 w 296"/>
                <a:gd name="T7" fmla="*/ 22 h 284"/>
                <a:gd name="T8" fmla="*/ 164 w 296"/>
                <a:gd name="T9" fmla="*/ 116 h 284"/>
                <a:gd name="T10" fmla="*/ 141 w 296"/>
                <a:gd name="T11" fmla="*/ 95 h 284"/>
                <a:gd name="T12" fmla="*/ 91 w 296"/>
                <a:gd name="T13" fmla="*/ 12 h 284"/>
                <a:gd name="T14" fmla="*/ 42 w 296"/>
                <a:gd name="T15" fmla="*/ 4 h 284"/>
                <a:gd name="T16" fmla="*/ 42 w 296"/>
                <a:gd name="T17" fmla="*/ 14 h 284"/>
                <a:gd name="T18" fmla="*/ 76 w 296"/>
                <a:gd name="T19" fmla="*/ 45 h 284"/>
                <a:gd name="T20" fmla="*/ 62 w 296"/>
                <a:gd name="T21" fmla="*/ 78 h 284"/>
                <a:gd name="T22" fmla="*/ 22 w 296"/>
                <a:gd name="T23" fmla="*/ 46 h 284"/>
                <a:gd name="T24" fmla="*/ 12 w 296"/>
                <a:gd name="T25" fmla="*/ 36 h 284"/>
                <a:gd name="T26" fmla="*/ 7 w 296"/>
                <a:gd name="T27" fmla="*/ 39 h 284"/>
                <a:gd name="T28" fmla="*/ 56 w 296"/>
                <a:gd name="T29" fmla="*/ 126 h 284"/>
                <a:gd name="T30" fmla="*/ 100 w 296"/>
                <a:gd name="T31" fmla="*/ 136 h 284"/>
                <a:gd name="T32" fmla="*/ 33 w 296"/>
                <a:gd name="T33" fmla="*/ 224 h 284"/>
                <a:gd name="T34" fmla="*/ 29 w 296"/>
                <a:gd name="T35" fmla="*/ 272 h 284"/>
                <a:gd name="T36" fmla="*/ 149 w 296"/>
                <a:gd name="T37" fmla="*/ 186 h 284"/>
                <a:gd name="T38" fmla="*/ 266 w 296"/>
                <a:gd name="T39" fmla="*/ 284 h 284"/>
                <a:gd name="T40" fmla="*/ 284 w 296"/>
                <a:gd name="T41" fmla="*/ 277 h 284"/>
                <a:gd name="T42" fmla="*/ 103 w 296"/>
                <a:gd name="T43" fmla="*/ 123 h 284"/>
                <a:gd name="T44" fmla="*/ 86 w 296"/>
                <a:gd name="T45" fmla="*/ 127 h 284"/>
                <a:gd name="T46" fmla="*/ 25 w 296"/>
                <a:gd name="T47" fmla="*/ 80 h 284"/>
                <a:gd name="T48" fmla="*/ 41 w 296"/>
                <a:gd name="T49" fmla="*/ 80 h 284"/>
                <a:gd name="T50" fmla="*/ 84 w 296"/>
                <a:gd name="T51" fmla="*/ 80 h 284"/>
                <a:gd name="T52" fmla="*/ 58 w 296"/>
                <a:gd name="T53" fmla="*/ 11 h 284"/>
                <a:gd name="T54" fmla="*/ 122 w 296"/>
                <a:gd name="T55" fmla="*/ 59 h 284"/>
                <a:gd name="T56" fmla="*/ 128 w 296"/>
                <a:gd name="T57" fmla="*/ 100 h 284"/>
                <a:gd name="T58" fmla="*/ 144 w 296"/>
                <a:gd name="T59" fmla="*/ 112 h 284"/>
                <a:gd name="T60" fmla="*/ 152 w 296"/>
                <a:gd name="T61" fmla="*/ 129 h 284"/>
                <a:gd name="T62" fmla="*/ 108 w 296"/>
                <a:gd name="T63" fmla="*/ 127 h 284"/>
                <a:gd name="T64" fmla="*/ 103 w 296"/>
                <a:gd name="T65" fmla="*/ 123 h 284"/>
                <a:gd name="T66" fmla="*/ 36 w 296"/>
                <a:gd name="T67" fmla="*/ 264 h 284"/>
                <a:gd name="T68" fmla="*/ 42 w 296"/>
                <a:gd name="T69" fmla="*/ 232 h 284"/>
                <a:gd name="T70" fmla="*/ 150 w 296"/>
                <a:gd name="T71" fmla="*/ 141 h 284"/>
                <a:gd name="T72" fmla="*/ 145 w 296"/>
                <a:gd name="T73" fmla="*/ 173 h 284"/>
                <a:gd name="T74" fmla="*/ 276 w 296"/>
                <a:gd name="T75" fmla="*/ 269 h 284"/>
                <a:gd name="T76" fmla="*/ 241 w 296"/>
                <a:gd name="T77" fmla="*/ 261 h 284"/>
                <a:gd name="T78" fmla="*/ 162 w 296"/>
                <a:gd name="T79" fmla="*/ 139 h 284"/>
                <a:gd name="T80" fmla="*/ 268 w 296"/>
                <a:gd name="T81" fmla="*/ 23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96" h="284">
                  <a:moveTo>
                    <a:pt x="276" y="226"/>
                  </a:moveTo>
                  <a:cubicBezTo>
                    <a:pt x="175" y="126"/>
                    <a:pt x="175" y="126"/>
                    <a:pt x="175" y="126"/>
                  </a:cubicBezTo>
                  <a:cubicBezTo>
                    <a:pt x="246" y="49"/>
                    <a:pt x="246" y="49"/>
                    <a:pt x="246" y="49"/>
                  </a:cubicBezTo>
                  <a:cubicBezTo>
                    <a:pt x="252" y="49"/>
                    <a:pt x="258" y="47"/>
                    <a:pt x="263" y="42"/>
                  </a:cubicBezTo>
                  <a:cubicBezTo>
                    <a:pt x="271" y="34"/>
                    <a:pt x="271" y="34"/>
                    <a:pt x="271" y="34"/>
                  </a:cubicBezTo>
                  <a:cubicBezTo>
                    <a:pt x="278" y="26"/>
                    <a:pt x="274" y="20"/>
                    <a:pt x="268" y="15"/>
                  </a:cubicBezTo>
                  <a:cubicBezTo>
                    <a:pt x="262" y="9"/>
                    <a:pt x="256" y="6"/>
                    <a:pt x="249" y="13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37" y="27"/>
                    <a:pt x="235" y="33"/>
                    <a:pt x="236" y="39"/>
                  </a:cubicBezTo>
                  <a:cubicBezTo>
                    <a:pt x="164" y="116"/>
                    <a:pt x="164" y="116"/>
                    <a:pt x="164" y="116"/>
                  </a:cubicBezTo>
                  <a:cubicBezTo>
                    <a:pt x="152" y="104"/>
                    <a:pt x="152" y="104"/>
                    <a:pt x="152" y="104"/>
                  </a:cubicBezTo>
                  <a:cubicBezTo>
                    <a:pt x="149" y="100"/>
                    <a:pt x="145" y="97"/>
                    <a:pt x="141" y="95"/>
                  </a:cubicBezTo>
                  <a:cubicBezTo>
                    <a:pt x="146" y="80"/>
                    <a:pt x="142" y="62"/>
                    <a:pt x="130" y="51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83" y="4"/>
                    <a:pt x="72" y="0"/>
                    <a:pt x="60" y="0"/>
                  </a:cubicBezTo>
                  <a:cubicBezTo>
                    <a:pt x="54" y="0"/>
                    <a:pt x="48" y="1"/>
                    <a:pt x="42" y="4"/>
                  </a:cubicBezTo>
                  <a:cubicBezTo>
                    <a:pt x="40" y="4"/>
                    <a:pt x="39" y="7"/>
                    <a:pt x="39" y="9"/>
                  </a:cubicBezTo>
                  <a:cubicBezTo>
                    <a:pt x="39" y="11"/>
                    <a:pt x="40" y="13"/>
                    <a:pt x="42" y="14"/>
                  </a:cubicBezTo>
                  <a:cubicBezTo>
                    <a:pt x="45" y="15"/>
                    <a:pt x="47" y="16"/>
                    <a:pt x="49" y="18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83" y="52"/>
                    <a:pt x="84" y="64"/>
                    <a:pt x="76" y="72"/>
                  </a:cubicBezTo>
                  <a:cubicBezTo>
                    <a:pt x="72" y="76"/>
                    <a:pt x="68" y="78"/>
                    <a:pt x="62" y="78"/>
                  </a:cubicBezTo>
                  <a:cubicBezTo>
                    <a:pt x="57" y="78"/>
                    <a:pt x="53" y="76"/>
                    <a:pt x="49" y="72"/>
                  </a:cubicBezTo>
                  <a:cubicBezTo>
                    <a:pt x="22" y="46"/>
                    <a:pt x="22" y="46"/>
                    <a:pt x="22" y="46"/>
                  </a:cubicBezTo>
                  <a:cubicBezTo>
                    <a:pt x="20" y="44"/>
                    <a:pt x="19" y="42"/>
                    <a:pt x="18" y="39"/>
                  </a:cubicBezTo>
                  <a:cubicBezTo>
                    <a:pt x="17" y="37"/>
                    <a:pt x="15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0" y="36"/>
                    <a:pt x="8" y="37"/>
                    <a:pt x="7" y="39"/>
                  </a:cubicBezTo>
                  <a:cubicBezTo>
                    <a:pt x="0" y="56"/>
                    <a:pt x="4" y="75"/>
                    <a:pt x="17" y="88"/>
                  </a:cubicBezTo>
                  <a:cubicBezTo>
                    <a:pt x="56" y="126"/>
                    <a:pt x="56" y="126"/>
                    <a:pt x="56" y="126"/>
                  </a:cubicBezTo>
                  <a:cubicBezTo>
                    <a:pt x="64" y="134"/>
                    <a:pt x="75" y="139"/>
                    <a:pt x="86" y="139"/>
                  </a:cubicBezTo>
                  <a:cubicBezTo>
                    <a:pt x="91" y="139"/>
                    <a:pt x="96" y="138"/>
                    <a:pt x="100" y="136"/>
                  </a:cubicBezTo>
                  <a:cubicBezTo>
                    <a:pt x="102" y="139"/>
                    <a:pt x="104" y="142"/>
                    <a:pt x="107" y="145"/>
                  </a:cubicBezTo>
                  <a:cubicBezTo>
                    <a:pt x="33" y="224"/>
                    <a:pt x="33" y="224"/>
                    <a:pt x="33" y="224"/>
                  </a:cubicBezTo>
                  <a:cubicBezTo>
                    <a:pt x="19" y="239"/>
                    <a:pt x="17" y="261"/>
                    <a:pt x="28" y="272"/>
                  </a:cubicBezTo>
                  <a:cubicBezTo>
                    <a:pt x="29" y="272"/>
                    <a:pt x="29" y="272"/>
                    <a:pt x="29" y="272"/>
                  </a:cubicBezTo>
                  <a:cubicBezTo>
                    <a:pt x="40" y="283"/>
                    <a:pt x="62" y="279"/>
                    <a:pt x="76" y="264"/>
                  </a:cubicBezTo>
                  <a:cubicBezTo>
                    <a:pt x="149" y="186"/>
                    <a:pt x="149" y="186"/>
                    <a:pt x="149" y="186"/>
                  </a:cubicBezTo>
                  <a:cubicBezTo>
                    <a:pt x="233" y="269"/>
                    <a:pt x="233" y="269"/>
                    <a:pt x="233" y="269"/>
                  </a:cubicBezTo>
                  <a:cubicBezTo>
                    <a:pt x="243" y="279"/>
                    <a:pt x="255" y="284"/>
                    <a:pt x="266" y="284"/>
                  </a:cubicBezTo>
                  <a:cubicBezTo>
                    <a:pt x="266" y="284"/>
                    <a:pt x="266" y="284"/>
                    <a:pt x="266" y="284"/>
                  </a:cubicBezTo>
                  <a:cubicBezTo>
                    <a:pt x="273" y="284"/>
                    <a:pt x="280" y="281"/>
                    <a:pt x="284" y="277"/>
                  </a:cubicBezTo>
                  <a:cubicBezTo>
                    <a:pt x="296" y="264"/>
                    <a:pt x="293" y="242"/>
                    <a:pt x="276" y="226"/>
                  </a:cubicBezTo>
                  <a:close/>
                  <a:moveTo>
                    <a:pt x="103" y="123"/>
                  </a:moveTo>
                  <a:cubicBezTo>
                    <a:pt x="102" y="123"/>
                    <a:pt x="101" y="123"/>
                    <a:pt x="101" y="124"/>
                  </a:cubicBezTo>
                  <a:cubicBezTo>
                    <a:pt x="96" y="126"/>
                    <a:pt x="91" y="127"/>
                    <a:pt x="86" y="127"/>
                  </a:cubicBezTo>
                  <a:cubicBezTo>
                    <a:pt x="78" y="127"/>
                    <a:pt x="70" y="124"/>
                    <a:pt x="64" y="118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18" y="73"/>
                    <a:pt x="15" y="64"/>
                    <a:pt x="15" y="55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47" y="86"/>
                    <a:pt x="54" y="89"/>
                    <a:pt x="62" y="89"/>
                  </a:cubicBezTo>
                  <a:cubicBezTo>
                    <a:pt x="71" y="89"/>
                    <a:pt x="78" y="86"/>
                    <a:pt x="84" y="80"/>
                  </a:cubicBezTo>
                  <a:cubicBezTo>
                    <a:pt x="96" y="68"/>
                    <a:pt x="96" y="49"/>
                    <a:pt x="84" y="37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67" y="11"/>
                    <a:pt x="76" y="14"/>
                    <a:pt x="83" y="21"/>
                  </a:cubicBezTo>
                  <a:cubicBezTo>
                    <a:pt x="122" y="59"/>
                    <a:pt x="122" y="59"/>
                    <a:pt x="122" y="59"/>
                  </a:cubicBezTo>
                  <a:cubicBezTo>
                    <a:pt x="131" y="68"/>
                    <a:pt x="134" y="83"/>
                    <a:pt x="128" y="96"/>
                  </a:cubicBezTo>
                  <a:cubicBezTo>
                    <a:pt x="128" y="97"/>
                    <a:pt x="128" y="99"/>
                    <a:pt x="128" y="100"/>
                  </a:cubicBezTo>
                  <a:cubicBezTo>
                    <a:pt x="129" y="101"/>
                    <a:pt x="130" y="103"/>
                    <a:pt x="131" y="103"/>
                  </a:cubicBezTo>
                  <a:cubicBezTo>
                    <a:pt x="136" y="105"/>
                    <a:pt x="140" y="108"/>
                    <a:pt x="144" y="112"/>
                  </a:cubicBezTo>
                  <a:cubicBezTo>
                    <a:pt x="156" y="124"/>
                    <a:pt x="156" y="124"/>
                    <a:pt x="156" y="124"/>
                  </a:cubicBezTo>
                  <a:cubicBezTo>
                    <a:pt x="152" y="129"/>
                    <a:pt x="152" y="129"/>
                    <a:pt x="152" y="129"/>
                  </a:cubicBezTo>
                  <a:cubicBezTo>
                    <a:pt x="141" y="124"/>
                    <a:pt x="127" y="127"/>
                    <a:pt x="115" y="137"/>
                  </a:cubicBezTo>
                  <a:cubicBezTo>
                    <a:pt x="112" y="134"/>
                    <a:pt x="110" y="130"/>
                    <a:pt x="108" y="127"/>
                  </a:cubicBezTo>
                  <a:cubicBezTo>
                    <a:pt x="108" y="125"/>
                    <a:pt x="107" y="124"/>
                    <a:pt x="105" y="124"/>
                  </a:cubicBezTo>
                  <a:cubicBezTo>
                    <a:pt x="104" y="123"/>
                    <a:pt x="104" y="123"/>
                    <a:pt x="103" y="123"/>
                  </a:cubicBezTo>
                  <a:close/>
                  <a:moveTo>
                    <a:pt x="68" y="256"/>
                  </a:moveTo>
                  <a:cubicBezTo>
                    <a:pt x="58" y="267"/>
                    <a:pt x="43" y="270"/>
                    <a:pt x="36" y="264"/>
                  </a:cubicBezTo>
                  <a:cubicBezTo>
                    <a:pt x="36" y="263"/>
                    <a:pt x="36" y="263"/>
                    <a:pt x="36" y="263"/>
                  </a:cubicBezTo>
                  <a:cubicBezTo>
                    <a:pt x="29" y="257"/>
                    <a:pt x="32" y="242"/>
                    <a:pt x="42" y="232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28" y="138"/>
                    <a:pt x="143" y="135"/>
                    <a:pt x="150" y="141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7" y="148"/>
                    <a:pt x="155" y="163"/>
                    <a:pt x="145" y="173"/>
                  </a:cubicBezTo>
                  <a:lnTo>
                    <a:pt x="68" y="256"/>
                  </a:lnTo>
                  <a:close/>
                  <a:moveTo>
                    <a:pt x="276" y="269"/>
                  </a:moveTo>
                  <a:cubicBezTo>
                    <a:pt x="273" y="272"/>
                    <a:pt x="269" y="273"/>
                    <a:pt x="266" y="273"/>
                  </a:cubicBezTo>
                  <a:cubicBezTo>
                    <a:pt x="258" y="273"/>
                    <a:pt x="249" y="268"/>
                    <a:pt x="241" y="261"/>
                  </a:cubicBezTo>
                  <a:cubicBezTo>
                    <a:pt x="156" y="178"/>
                    <a:pt x="156" y="178"/>
                    <a:pt x="156" y="178"/>
                  </a:cubicBezTo>
                  <a:cubicBezTo>
                    <a:pt x="166" y="165"/>
                    <a:pt x="168" y="150"/>
                    <a:pt x="162" y="139"/>
                  </a:cubicBezTo>
                  <a:cubicBezTo>
                    <a:pt x="167" y="134"/>
                    <a:pt x="167" y="134"/>
                    <a:pt x="167" y="134"/>
                  </a:cubicBezTo>
                  <a:cubicBezTo>
                    <a:pt x="268" y="234"/>
                    <a:pt x="268" y="234"/>
                    <a:pt x="268" y="234"/>
                  </a:cubicBezTo>
                  <a:cubicBezTo>
                    <a:pt x="280" y="245"/>
                    <a:pt x="284" y="261"/>
                    <a:pt x="276" y="26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grpSp>
          <p:nvGrpSpPr>
            <p:cNvPr id="23" name="Group 24">
              <a:extLst>
                <a:ext uri="{FF2B5EF4-FFF2-40B4-BE49-F238E27FC236}">
                  <a16:creationId xmlns:a16="http://schemas.microsoft.com/office/drawing/2014/main" id="{EE6761B2-9C35-4854-9C27-1CBF71CFF27B}"/>
                </a:ext>
              </a:extLst>
            </p:cNvPr>
            <p:cNvGrpSpPr/>
            <p:nvPr/>
          </p:nvGrpSpPr>
          <p:grpSpPr>
            <a:xfrm>
              <a:off x="8383125" y="3429478"/>
              <a:ext cx="568325" cy="530225"/>
              <a:chOff x="4775200" y="5180013"/>
              <a:chExt cx="568325" cy="530225"/>
            </a:xfrm>
            <a:solidFill>
              <a:schemeClr val="accent2"/>
            </a:solidFill>
          </p:grpSpPr>
          <p:sp>
            <p:nvSpPr>
              <p:cNvPr id="32" name="Freeform 61">
                <a:extLst>
                  <a:ext uri="{FF2B5EF4-FFF2-40B4-BE49-F238E27FC236}">
                    <a16:creationId xmlns:a16="http://schemas.microsoft.com/office/drawing/2014/main" id="{9BA69522-16D4-409A-ACF2-05CB0531F2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5200" y="5180013"/>
                <a:ext cx="568325" cy="530225"/>
              </a:xfrm>
              <a:custGeom>
                <a:avLst/>
                <a:gdLst>
                  <a:gd name="T0" fmla="*/ 215 w 301"/>
                  <a:gd name="T1" fmla="*/ 0 h 281"/>
                  <a:gd name="T2" fmla="*/ 129 w 301"/>
                  <a:gd name="T3" fmla="*/ 86 h 281"/>
                  <a:gd name="T4" fmla="*/ 134 w 301"/>
                  <a:gd name="T5" fmla="*/ 115 h 281"/>
                  <a:gd name="T6" fmla="*/ 1 w 301"/>
                  <a:gd name="T7" fmla="*/ 248 h 281"/>
                  <a:gd name="T8" fmla="*/ 0 w 301"/>
                  <a:gd name="T9" fmla="*/ 252 h 281"/>
                  <a:gd name="T10" fmla="*/ 1 w 301"/>
                  <a:gd name="T11" fmla="*/ 275 h 281"/>
                  <a:gd name="T12" fmla="*/ 7 w 301"/>
                  <a:gd name="T13" fmla="*/ 281 h 281"/>
                  <a:gd name="T14" fmla="*/ 7 w 301"/>
                  <a:gd name="T15" fmla="*/ 281 h 281"/>
                  <a:gd name="T16" fmla="*/ 55 w 301"/>
                  <a:gd name="T17" fmla="*/ 279 h 281"/>
                  <a:gd name="T18" fmla="*/ 60 w 301"/>
                  <a:gd name="T19" fmla="*/ 275 h 281"/>
                  <a:gd name="T20" fmla="*/ 66 w 301"/>
                  <a:gd name="T21" fmla="*/ 255 h 281"/>
                  <a:gd name="T22" fmla="*/ 87 w 301"/>
                  <a:gd name="T23" fmla="*/ 250 h 281"/>
                  <a:gd name="T24" fmla="*/ 92 w 301"/>
                  <a:gd name="T25" fmla="*/ 246 h 281"/>
                  <a:gd name="T26" fmla="*/ 95 w 301"/>
                  <a:gd name="T27" fmla="*/ 227 h 281"/>
                  <a:gd name="T28" fmla="*/ 115 w 301"/>
                  <a:gd name="T29" fmla="*/ 222 h 281"/>
                  <a:gd name="T30" fmla="*/ 120 w 301"/>
                  <a:gd name="T31" fmla="*/ 217 h 281"/>
                  <a:gd name="T32" fmla="*/ 121 w 301"/>
                  <a:gd name="T33" fmla="*/ 196 h 281"/>
                  <a:gd name="T34" fmla="*/ 137 w 301"/>
                  <a:gd name="T35" fmla="*/ 195 h 281"/>
                  <a:gd name="T36" fmla="*/ 142 w 301"/>
                  <a:gd name="T37" fmla="*/ 190 h 281"/>
                  <a:gd name="T38" fmla="*/ 147 w 301"/>
                  <a:gd name="T39" fmla="*/ 170 h 281"/>
                  <a:gd name="T40" fmla="*/ 149 w 301"/>
                  <a:gd name="T41" fmla="*/ 170 h 281"/>
                  <a:gd name="T42" fmla="*/ 174 w 301"/>
                  <a:gd name="T43" fmla="*/ 162 h 281"/>
                  <a:gd name="T44" fmla="*/ 215 w 301"/>
                  <a:gd name="T45" fmla="*/ 172 h 281"/>
                  <a:gd name="T46" fmla="*/ 301 w 301"/>
                  <a:gd name="T47" fmla="*/ 86 h 281"/>
                  <a:gd name="T48" fmla="*/ 215 w 301"/>
                  <a:gd name="T49" fmla="*/ 0 h 281"/>
                  <a:gd name="T50" fmla="*/ 215 w 301"/>
                  <a:gd name="T51" fmla="*/ 160 h 281"/>
                  <a:gd name="T52" fmla="*/ 177 w 301"/>
                  <a:gd name="T53" fmla="*/ 150 h 281"/>
                  <a:gd name="T54" fmla="*/ 171 w 301"/>
                  <a:gd name="T55" fmla="*/ 150 h 281"/>
                  <a:gd name="T56" fmla="*/ 149 w 301"/>
                  <a:gd name="T57" fmla="*/ 158 h 281"/>
                  <a:gd name="T58" fmla="*/ 144 w 301"/>
                  <a:gd name="T59" fmla="*/ 158 h 281"/>
                  <a:gd name="T60" fmla="*/ 144 w 301"/>
                  <a:gd name="T61" fmla="*/ 158 h 281"/>
                  <a:gd name="T62" fmla="*/ 140 w 301"/>
                  <a:gd name="T63" fmla="*/ 158 h 281"/>
                  <a:gd name="T64" fmla="*/ 137 w 301"/>
                  <a:gd name="T65" fmla="*/ 162 h 281"/>
                  <a:gd name="T66" fmla="*/ 132 w 301"/>
                  <a:gd name="T67" fmla="*/ 184 h 281"/>
                  <a:gd name="T68" fmla="*/ 115 w 301"/>
                  <a:gd name="T69" fmla="*/ 186 h 281"/>
                  <a:gd name="T70" fmla="*/ 110 w 301"/>
                  <a:gd name="T71" fmla="*/ 191 h 281"/>
                  <a:gd name="T72" fmla="*/ 108 w 301"/>
                  <a:gd name="T73" fmla="*/ 212 h 281"/>
                  <a:gd name="T74" fmla="*/ 89 w 301"/>
                  <a:gd name="T75" fmla="*/ 217 h 281"/>
                  <a:gd name="T76" fmla="*/ 85 w 301"/>
                  <a:gd name="T77" fmla="*/ 221 h 281"/>
                  <a:gd name="T78" fmla="*/ 81 w 301"/>
                  <a:gd name="T79" fmla="*/ 240 h 281"/>
                  <a:gd name="T80" fmla="*/ 60 w 301"/>
                  <a:gd name="T81" fmla="*/ 244 h 281"/>
                  <a:gd name="T82" fmla="*/ 55 w 301"/>
                  <a:gd name="T83" fmla="*/ 248 h 281"/>
                  <a:gd name="T84" fmla="*/ 50 w 301"/>
                  <a:gd name="T85" fmla="*/ 268 h 281"/>
                  <a:gd name="T86" fmla="*/ 12 w 301"/>
                  <a:gd name="T87" fmla="*/ 269 h 281"/>
                  <a:gd name="T88" fmla="*/ 11 w 301"/>
                  <a:gd name="T89" fmla="*/ 254 h 281"/>
                  <a:gd name="T90" fmla="*/ 145 w 301"/>
                  <a:gd name="T91" fmla="*/ 120 h 281"/>
                  <a:gd name="T92" fmla="*/ 146 w 301"/>
                  <a:gd name="T93" fmla="*/ 114 h 281"/>
                  <a:gd name="T94" fmla="*/ 141 w 301"/>
                  <a:gd name="T95" fmla="*/ 86 h 281"/>
                  <a:gd name="T96" fmla="*/ 215 w 301"/>
                  <a:gd name="T97" fmla="*/ 12 h 281"/>
                  <a:gd name="T98" fmla="*/ 289 w 301"/>
                  <a:gd name="T99" fmla="*/ 86 h 281"/>
                  <a:gd name="T100" fmla="*/ 215 w 301"/>
                  <a:gd name="T101" fmla="*/ 160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01" h="281">
                    <a:moveTo>
                      <a:pt x="215" y="0"/>
                    </a:moveTo>
                    <a:cubicBezTo>
                      <a:pt x="168" y="0"/>
                      <a:pt x="129" y="39"/>
                      <a:pt x="129" y="86"/>
                    </a:cubicBezTo>
                    <a:cubicBezTo>
                      <a:pt x="129" y="96"/>
                      <a:pt x="131" y="106"/>
                      <a:pt x="134" y="115"/>
                    </a:cubicBezTo>
                    <a:cubicBezTo>
                      <a:pt x="1" y="248"/>
                      <a:pt x="1" y="248"/>
                      <a:pt x="1" y="248"/>
                    </a:cubicBezTo>
                    <a:cubicBezTo>
                      <a:pt x="0" y="249"/>
                      <a:pt x="0" y="250"/>
                      <a:pt x="0" y="252"/>
                    </a:cubicBezTo>
                    <a:cubicBezTo>
                      <a:pt x="1" y="275"/>
                      <a:pt x="1" y="275"/>
                      <a:pt x="1" y="275"/>
                    </a:cubicBezTo>
                    <a:cubicBezTo>
                      <a:pt x="1" y="278"/>
                      <a:pt x="4" y="281"/>
                      <a:pt x="7" y="281"/>
                    </a:cubicBezTo>
                    <a:cubicBezTo>
                      <a:pt x="7" y="281"/>
                      <a:pt x="7" y="281"/>
                      <a:pt x="7" y="281"/>
                    </a:cubicBezTo>
                    <a:cubicBezTo>
                      <a:pt x="55" y="279"/>
                      <a:pt x="55" y="279"/>
                      <a:pt x="55" y="279"/>
                    </a:cubicBezTo>
                    <a:cubicBezTo>
                      <a:pt x="57" y="279"/>
                      <a:pt x="59" y="277"/>
                      <a:pt x="60" y="275"/>
                    </a:cubicBezTo>
                    <a:cubicBezTo>
                      <a:pt x="66" y="255"/>
                      <a:pt x="66" y="255"/>
                      <a:pt x="66" y="255"/>
                    </a:cubicBezTo>
                    <a:cubicBezTo>
                      <a:pt x="87" y="250"/>
                      <a:pt x="87" y="250"/>
                      <a:pt x="87" y="250"/>
                    </a:cubicBezTo>
                    <a:cubicBezTo>
                      <a:pt x="90" y="250"/>
                      <a:pt x="91" y="248"/>
                      <a:pt x="92" y="246"/>
                    </a:cubicBezTo>
                    <a:cubicBezTo>
                      <a:pt x="95" y="227"/>
                      <a:pt x="95" y="227"/>
                      <a:pt x="95" y="227"/>
                    </a:cubicBezTo>
                    <a:cubicBezTo>
                      <a:pt x="115" y="222"/>
                      <a:pt x="115" y="222"/>
                      <a:pt x="115" y="222"/>
                    </a:cubicBezTo>
                    <a:cubicBezTo>
                      <a:pt x="118" y="221"/>
                      <a:pt x="119" y="219"/>
                      <a:pt x="120" y="217"/>
                    </a:cubicBezTo>
                    <a:cubicBezTo>
                      <a:pt x="121" y="196"/>
                      <a:pt x="121" y="196"/>
                      <a:pt x="121" y="196"/>
                    </a:cubicBezTo>
                    <a:cubicBezTo>
                      <a:pt x="137" y="195"/>
                      <a:pt x="137" y="195"/>
                      <a:pt x="137" y="195"/>
                    </a:cubicBezTo>
                    <a:cubicBezTo>
                      <a:pt x="140" y="194"/>
                      <a:pt x="142" y="192"/>
                      <a:pt x="142" y="190"/>
                    </a:cubicBezTo>
                    <a:cubicBezTo>
                      <a:pt x="147" y="170"/>
                      <a:pt x="147" y="170"/>
                      <a:pt x="147" y="170"/>
                    </a:cubicBezTo>
                    <a:cubicBezTo>
                      <a:pt x="147" y="170"/>
                      <a:pt x="148" y="170"/>
                      <a:pt x="149" y="170"/>
                    </a:cubicBezTo>
                    <a:cubicBezTo>
                      <a:pt x="155" y="170"/>
                      <a:pt x="164" y="168"/>
                      <a:pt x="174" y="162"/>
                    </a:cubicBezTo>
                    <a:cubicBezTo>
                      <a:pt x="187" y="168"/>
                      <a:pt x="201" y="172"/>
                      <a:pt x="215" y="172"/>
                    </a:cubicBezTo>
                    <a:cubicBezTo>
                      <a:pt x="262" y="172"/>
                      <a:pt x="301" y="133"/>
                      <a:pt x="301" y="86"/>
                    </a:cubicBezTo>
                    <a:cubicBezTo>
                      <a:pt x="301" y="39"/>
                      <a:pt x="262" y="0"/>
                      <a:pt x="215" y="0"/>
                    </a:cubicBezTo>
                    <a:close/>
                    <a:moveTo>
                      <a:pt x="215" y="160"/>
                    </a:moveTo>
                    <a:cubicBezTo>
                      <a:pt x="202" y="160"/>
                      <a:pt x="188" y="157"/>
                      <a:pt x="177" y="150"/>
                    </a:cubicBezTo>
                    <a:cubicBezTo>
                      <a:pt x="175" y="149"/>
                      <a:pt x="173" y="149"/>
                      <a:pt x="171" y="150"/>
                    </a:cubicBezTo>
                    <a:cubicBezTo>
                      <a:pt x="161" y="157"/>
                      <a:pt x="154" y="158"/>
                      <a:pt x="149" y="158"/>
                    </a:cubicBezTo>
                    <a:cubicBezTo>
                      <a:pt x="146" y="158"/>
                      <a:pt x="144" y="158"/>
                      <a:pt x="144" y="158"/>
                    </a:cubicBezTo>
                    <a:cubicBezTo>
                      <a:pt x="144" y="158"/>
                      <a:pt x="144" y="158"/>
                      <a:pt x="144" y="158"/>
                    </a:cubicBezTo>
                    <a:cubicBezTo>
                      <a:pt x="143" y="157"/>
                      <a:pt x="141" y="157"/>
                      <a:pt x="140" y="158"/>
                    </a:cubicBezTo>
                    <a:cubicBezTo>
                      <a:pt x="138" y="158"/>
                      <a:pt x="137" y="160"/>
                      <a:pt x="137" y="162"/>
                    </a:cubicBezTo>
                    <a:cubicBezTo>
                      <a:pt x="132" y="184"/>
                      <a:pt x="132" y="184"/>
                      <a:pt x="132" y="184"/>
                    </a:cubicBezTo>
                    <a:cubicBezTo>
                      <a:pt x="115" y="186"/>
                      <a:pt x="115" y="186"/>
                      <a:pt x="115" y="186"/>
                    </a:cubicBezTo>
                    <a:cubicBezTo>
                      <a:pt x="112" y="186"/>
                      <a:pt x="110" y="188"/>
                      <a:pt x="110" y="191"/>
                    </a:cubicBezTo>
                    <a:cubicBezTo>
                      <a:pt x="108" y="212"/>
                      <a:pt x="108" y="212"/>
                      <a:pt x="108" y="212"/>
                    </a:cubicBezTo>
                    <a:cubicBezTo>
                      <a:pt x="89" y="217"/>
                      <a:pt x="89" y="217"/>
                      <a:pt x="89" y="217"/>
                    </a:cubicBezTo>
                    <a:cubicBezTo>
                      <a:pt x="87" y="217"/>
                      <a:pt x="85" y="219"/>
                      <a:pt x="85" y="221"/>
                    </a:cubicBezTo>
                    <a:cubicBezTo>
                      <a:pt x="81" y="240"/>
                      <a:pt x="81" y="240"/>
                      <a:pt x="81" y="240"/>
                    </a:cubicBezTo>
                    <a:cubicBezTo>
                      <a:pt x="60" y="244"/>
                      <a:pt x="60" y="244"/>
                      <a:pt x="60" y="244"/>
                    </a:cubicBezTo>
                    <a:cubicBezTo>
                      <a:pt x="58" y="244"/>
                      <a:pt x="56" y="246"/>
                      <a:pt x="55" y="248"/>
                    </a:cubicBezTo>
                    <a:cubicBezTo>
                      <a:pt x="50" y="268"/>
                      <a:pt x="50" y="268"/>
                      <a:pt x="50" y="268"/>
                    </a:cubicBezTo>
                    <a:cubicBezTo>
                      <a:pt x="12" y="269"/>
                      <a:pt x="12" y="269"/>
                      <a:pt x="12" y="269"/>
                    </a:cubicBezTo>
                    <a:cubicBezTo>
                      <a:pt x="11" y="254"/>
                      <a:pt x="11" y="254"/>
                      <a:pt x="11" y="254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7" y="119"/>
                      <a:pt x="147" y="116"/>
                      <a:pt x="146" y="114"/>
                    </a:cubicBezTo>
                    <a:cubicBezTo>
                      <a:pt x="142" y="105"/>
                      <a:pt x="141" y="96"/>
                      <a:pt x="141" y="86"/>
                    </a:cubicBezTo>
                    <a:cubicBezTo>
                      <a:pt x="141" y="45"/>
                      <a:pt x="174" y="12"/>
                      <a:pt x="215" y="12"/>
                    </a:cubicBezTo>
                    <a:cubicBezTo>
                      <a:pt x="256" y="12"/>
                      <a:pt x="289" y="45"/>
                      <a:pt x="289" y="86"/>
                    </a:cubicBezTo>
                    <a:cubicBezTo>
                      <a:pt x="289" y="127"/>
                      <a:pt x="256" y="160"/>
                      <a:pt x="215" y="1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33" name="Freeform 62">
                <a:extLst>
                  <a:ext uri="{FF2B5EF4-FFF2-40B4-BE49-F238E27FC236}">
                    <a16:creationId xmlns:a16="http://schemas.microsoft.com/office/drawing/2014/main" id="{F2CBC286-E576-4E81-9F5B-313FB96CE4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19688" y="5253038"/>
                <a:ext cx="96838" cy="98425"/>
              </a:xfrm>
              <a:custGeom>
                <a:avLst/>
                <a:gdLst>
                  <a:gd name="T0" fmla="*/ 26 w 52"/>
                  <a:gd name="T1" fmla="*/ 0 h 52"/>
                  <a:gd name="T2" fmla="*/ 0 w 52"/>
                  <a:gd name="T3" fmla="*/ 26 h 52"/>
                  <a:gd name="T4" fmla="*/ 26 w 52"/>
                  <a:gd name="T5" fmla="*/ 52 h 52"/>
                  <a:gd name="T6" fmla="*/ 52 w 52"/>
                  <a:gd name="T7" fmla="*/ 26 h 52"/>
                  <a:gd name="T8" fmla="*/ 26 w 52"/>
                  <a:gd name="T9" fmla="*/ 0 h 52"/>
                  <a:gd name="T10" fmla="*/ 26 w 52"/>
                  <a:gd name="T11" fmla="*/ 42 h 52"/>
                  <a:gd name="T12" fmla="*/ 10 w 52"/>
                  <a:gd name="T13" fmla="*/ 26 h 52"/>
                  <a:gd name="T14" fmla="*/ 26 w 52"/>
                  <a:gd name="T15" fmla="*/ 10 h 52"/>
                  <a:gd name="T16" fmla="*/ 42 w 52"/>
                  <a:gd name="T17" fmla="*/ 26 h 52"/>
                  <a:gd name="T18" fmla="*/ 26 w 52"/>
                  <a:gd name="T19" fmla="*/ 4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cubicBezTo>
                      <a:pt x="12" y="0"/>
                      <a:pt x="0" y="11"/>
                      <a:pt x="0" y="26"/>
                    </a:cubicBezTo>
                    <a:cubicBezTo>
                      <a:pt x="0" y="40"/>
                      <a:pt x="12" y="52"/>
                      <a:pt x="26" y="52"/>
                    </a:cubicBezTo>
                    <a:cubicBezTo>
                      <a:pt x="40" y="52"/>
                      <a:pt x="52" y="40"/>
                      <a:pt x="52" y="26"/>
                    </a:cubicBezTo>
                    <a:cubicBezTo>
                      <a:pt x="52" y="11"/>
                      <a:pt x="40" y="0"/>
                      <a:pt x="26" y="0"/>
                    </a:cubicBezTo>
                    <a:close/>
                    <a:moveTo>
                      <a:pt x="26" y="42"/>
                    </a:moveTo>
                    <a:cubicBezTo>
                      <a:pt x="17" y="42"/>
                      <a:pt x="10" y="34"/>
                      <a:pt x="10" y="26"/>
                    </a:cubicBezTo>
                    <a:cubicBezTo>
                      <a:pt x="10" y="17"/>
                      <a:pt x="17" y="10"/>
                      <a:pt x="26" y="10"/>
                    </a:cubicBezTo>
                    <a:cubicBezTo>
                      <a:pt x="35" y="10"/>
                      <a:pt x="42" y="17"/>
                      <a:pt x="42" y="26"/>
                    </a:cubicBezTo>
                    <a:cubicBezTo>
                      <a:pt x="42" y="34"/>
                      <a:pt x="35" y="42"/>
                      <a:pt x="26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</p:grpSp>
        <p:sp>
          <p:nvSpPr>
            <p:cNvPr id="24" name="Freeform 159">
              <a:extLst>
                <a:ext uri="{FF2B5EF4-FFF2-40B4-BE49-F238E27FC236}">
                  <a16:creationId xmlns:a16="http://schemas.microsoft.com/office/drawing/2014/main" id="{41BC4C50-4822-41A0-B694-2F7EA245B1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10700" y="4416316"/>
              <a:ext cx="535071" cy="571590"/>
            </a:xfrm>
            <a:custGeom>
              <a:avLst/>
              <a:gdLst>
                <a:gd name="T0" fmla="*/ 196 w 283"/>
                <a:gd name="T1" fmla="*/ 190 h 303"/>
                <a:gd name="T2" fmla="*/ 240 w 283"/>
                <a:gd name="T3" fmla="*/ 123 h 303"/>
                <a:gd name="T4" fmla="*/ 184 w 283"/>
                <a:gd name="T5" fmla="*/ 16 h 303"/>
                <a:gd name="T6" fmla="*/ 69 w 283"/>
                <a:gd name="T7" fmla="*/ 63 h 303"/>
                <a:gd name="T8" fmla="*/ 83 w 283"/>
                <a:gd name="T9" fmla="*/ 109 h 303"/>
                <a:gd name="T10" fmla="*/ 87 w 283"/>
                <a:gd name="T11" fmla="*/ 190 h 303"/>
                <a:gd name="T12" fmla="*/ 0 w 283"/>
                <a:gd name="T13" fmla="*/ 192 h 303"/>
                <a:gd name="T14" fmla="*/ 98 w 283"/>
                <a:gd name="T15" fmla="*/ 303 h 303"/>
                <a:gd name="T16" fmla="*/ 283 w 283"/>
                <a:gd name="T17" fmla="*/ 198 h 303"/>
                <a:gd name="T18" fmla="*/ 196 w 283"/>
                <a:gd name="T19" fmla="*/ 192 h 303"/>
                <a:gd name="T20" fmla="*/ 234 w 283"/>
                <a:gd name="T21" fmla="*/ 99 h 303"/>
                <a:gd name="T22" fmla="*/ 96 w 283"/>
                <a:gd name="T23" fmla="*/ 45 h 303"/>
                <a:gd name="T24" fmla="*/ 91 w 283"/>
                <a:gd name="T25" fmla="*/ 100 h 303"/>
                <a:gd name="T26" fmla="*/ 119 w 283"/>
                <a:gd name="T27" fmla="*/ 54 h 303"/>
                <a:gd name="T28" fmla="*/ 216 w 283"/>
                <a:gd name="T29" fmla="*/ 91 h 303"/>
                <a:gd name="T30" fmla="*/ 188 w 283"/>
                <a:gd name="T31" fmla="*/ 137 h 303"/>
                <a:gd name="T32" fmla="*/ 149 w 283"/>
                <a:gd name="T33" fmla="*/ 88 h 303"/>
                <a:gd name="T34" fmla="*/ 142 w 283"/>
                <a:gd name="T35" fmla="*/ 87 h 303"/>
                <a:gd name="T36" fmla="*/ 141 w 283"/>
                <a:gd name="T37" fmla="*/ 87 h 303"/>
                <a:gd name="T38" fmla="*/ 91 w 283"/>
                <a:gd name="T39" fmla="*/ 100 h 303"/>
                <a:gd name="T40" fmla="*/ 184 w 283"/>
                <a:gd name="T41" fmla="*/ 192 h 303"/>
                <a:gd name="T42" fmla="*/ 164 w 283"/>
                <a:gd name="T43" fmla="*/ 115 h 303"/>
                <a:gd name="T44" fmla="*/ 163 w 283"/>
                <a:gd name="T45" fmla="*/ 192 h 303"/>
                <a:gd name="T46" fmla="*/ 126 w 283"/>
                <a:gd name="T47" fmla="*/ 166 h 303"/>
                <a:gd name="T48" fmla="*/ 144 w 283"/>
                <a:gd name="T49" fmla="*/ 99 h 303"/>
                <a:gd name="T50" fmla="*/ 162 w 283"/>
                <a:gd name="T51" fmla="*/ 166 h 303"/>
                <a:gd name="T52" fmla="*/ 128 w 283"/>
                <a:gd name="T53" fmla="*/ 104 h 303"/>
                <a:gd name="T54" fmla="*/ 99 w 283"/>
                <a:gd name="T55" fmla="*/ 192 h 303"/>
                <a:gd name="T56" fmla="*/ 128 w 283"/>
                <a:gd name="T57" fmla="*/ 104 h 303"/>
                <a:gd name="T58" fmla="*/ 98 w 283"/>
                <a:gd name="T59" fmla="*/ 292 h 303"/>
                <a:gd name="T60" fmla="*/ 168 w 283"/>
                <a:gd name="T61" fmla="*/ 204 h 303"/>
                <a:gd name="T62" fmla="*/ 169 w 283"/>
                <a:gd name="T63" fmla="*/ 204 h 303"/>
                <a:gd name="T64" fmla="*/ 271 w 283"/>
                <a:gd name="T65" fmla="*/ 204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3" h="303">
                  <a:moveTo>
                    <a:pt x="196" y="192"/>
                  </a:moveTo>
                  <a:cubicBezTo>
                    <a:pt x="196" y="192"/>
                    <a:pt x="196" y="191"/>
                    <a:pt x="196" y="190"/>
                  </a:cubicBezTo>
                  <a:cubicBezTo>
                    <a:pt x="196" y="176"/>
                    <a:pt x="194" y="162"/>
                    <a:pt x="190" y="148"/>
                  </a:cubicBezTo>
                  <a:cubicBezTo>
                    <a:pt x="217" y="148"/>
                    <a:pt x="235" y="138"/>
                    <a:pt x="240" y="123"/>
                  </a:cubicBezTo>
                  <a:cubicBezTo>
                    <a:pt x="241" y="120"/>
                    <a:pt x="241" y="116"/>
                    <a:pt x="241" y="112"/>
                  </a:cubicBezTo>
                  <a:cubicBezTo>
                    <a:pt x="250" y="42"/>
                    <a:pt x="184" y="16"/>
                    <a:pt x="184" y="16"/>
                  </a:cubicBezTo>
                  <a:cubicBezTo>
                    <a:pt x="100" y="0"/>
                    <a:pt x="69" y="63"/>
                    <a:pt x="69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4"/>
                    <a:pt x="68" y="66"/>
                    <a:pt x="67" y="67"/>
                  </a:cubicBezTo>
                  <a:cubicBezTo>
                    <a:pt x="63" y="80"/>
                    <a:pt x="69" y="95"/>
                    <a:pt x="83" y="109"/>
                  </a:cubicBezTo>
                  <a:cubicBezTo>
                    <a:pt x="89" y="113"/>
                    <a:pt x="95" y="118"/>
                    <a:pt x="101" y="122"/>
                  </a:cubicBezTo>
                  <a:cubicBezTo>
                    <a:pt x="92" y="142"/>
                    <a:pt x="87" y="167"/>
                    <a:pt x="87" y="190"/>
                  </a:cubicBezTo>
                  <a:cubicBezTo>
                    <a:pt x="87" y="191"/>
                    <a:pt x="87" y="192"/>
                    <a:pt x="87" y="192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4" y="257"/>
                    <a:pt x="47" y="303"/>
                    <a:pt x="98" y="303"/>
                  </a:cubicBezTo>
                  <a:cubicBezTo>
                    <a:pt x="185" y="303"/>
                    <a:pt x="185" y="303"/>
                    <a:pt x="185" y="303"/>
                  </a:cubicBezTo>
                  <a:cubicBezTo>
                    <a:pt x="236" y="303"/>
                    <a:pt x="279" y="257"/>
                    <a:pt x="283" y="198"/>
                  </a:cubicBezTo>
                  <a:cubicBezTo>
                    <a:pt x="283" y="192"/>
                    <a:pt x="283" y="192"/>
                    <a:pt x="283" y="192"/>
                  </a:cubicBezTo>
                  <a:lnTo>
                    <a:pt x="196" y="192"/>
                  </a:lnTo>
                  <a:close/>
                  <a:moveTo>
                    <a:pt x="182" y="27"/>
                  </a:moveTo>
                  <a:cubicBezTo>
                    <a:pt x="207" y="38"/>
                    <a:pt x="231" y="64"/>
                    <a:pt x="234" y="99"/>
                  </a:cubicBezTo>
                  <a:cubicBezTo>
                    <a:pt x="224" y="77"/>
                    <a:pt x="195" y="60"/>
                    <a:pt x="173" y="53"/>
                  </a:cubicBezTo>
                  <a:cubicBezTo>
                    <a:pt x="157" y="48"/>
                    <a:pt x="118" y="40"/>
                    <a:pt x="96" y="45"/>
                  </a:cubicBezTo>
                  <a:cubicBezTo>
                    <a:pt x="93" y="46"/>
                    <a:pt x="130" y="13"/>
                    <a:pt x="182" y="27"/>
                  </a:cubicBezTo>
                  <a:close/>
                  <a:moveTo>
                    <a:pt x="91" y="100"/>
                  </a:moveTo>
                  <a:cubicBezTo>
                    <a:pt x="80" y="90"/>
                    <a:pt x="76" y="79"/>
                    <a:pt x="78" y="71"/>
                  </a:cubicBezTo>
                  <a:cubicBezTo>
                    <a:pt x="82" y="61"/>
                    <a:pt x="97" y="54"/>
                    <a:pt x="119" y="54"/>
                  </a:cubicBezTo>
                  <a:cubicBezTo>
                    <a:pt x="133" y="54"/>
                    <a:pt x="149" y="57"/>
                    <a:pt x="164" y="62"/>
                  </a:cubicBezTo>
                  <a:cubicBezTo>
                    <a:pt x="185" y="69"/>
                    <a:pt x="203" y="79"/>
                    <a:pt x="216" y="91"/>
                  </a:cubicBezTo>
                  <a:cubicBezTo>
                    <a:pt x="227" y="101"/>
                    <a:pt x="231" y="112"/>
                    <a:pt x="229" y="120"/>
                  </a:cubicBezTo>
                  <a:cubicBezTo>
                    <a:pt x="225" y="130"/>
                    <a:pt x="210" y="137"/>
                    <a:pt x="188" y="137"/>
                  </a:cubicBezTo>
                  <a:cubicBezTo>
                    <a:pt x="188" y="137"/>
                    <a:pt x="187" y="137"/>
                    <a:pt x="187" y="137"/>
                  </a:cubicBezTo>
                  <a:cubicBezTo>
                    <a:pt x="179" y="112"/>
                    <a:pt x="165" y="92"/>
                    <a:pt x="149" y="88"/>
                  </a:cubicBezTo>
                  <a:cubicBezTo>
                    <a:pt x="148" y="88"/>
                    <a:pt x="148" y="87"/>
                    <a:pt x="148" y="87"/>
                  </a:cubicBezTo>
                  <a:cubicBezTo>
                    <a:pt x="146" y="87"/>
                    <a:pt x="144" y="87"/>
                    <a:pt x="142" y="87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42" y="87"/>
                    <a:pt x="141" y="87"/>
                    <a:pt x="141" y="87"/>
                  </a:cubicBezTo>
                  <a:cubicBezTo>
                    <a:pt x="128" y="87"/>
                    <a:pt x="116" y="97"/>
                    <a:pt x="107" y="112"/>
                  </a:cubicBezTo>
                  <a:cubicBezTo>
                    <a:pt x="101" y="108"/>
                    <a:pt x="96" y="104"/>
                    <a:pt x="91" y="100"/>
                  </a:cubicBezTo>
                  <a:close/>
                  <a:moveTo>
                    <a:pt x="184" y="190"/>
                  </a:moveTo>
                  <a:cubicBezTo>
                    <a:pt x="184" y="191"/>
                    <a:pt x="184" y="192"/>
                    <a:pt x="184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5" y="155"/>
                    <a:pt x="170" y="131"/>
                    <a:pt x="164" y="115"/>
                  </a:cubicBezTo>
                  <a:cubicBezTo>
                    <a:pt x="176" y="132"/>
                    <a:pt x="184" y="161"/>
                    <a:pt x="184" y="190"/>
                  </a:cubicBezTo>
                  <a:close/>
                  <a:moveTo>
                    <a:pt x="163" y="192"/>
                  </a:moveTo>
                  <a:cubicBezTo>
                    <a:pt x="125" y="192"/>
                    <a:pt x="125" y="192"/>
                    <a:pt x="125" y="192"/>
                  </a:cubicBezTo>
                  <a:cubicBezTo>
                    <a:pt x="125" y="182"/>
                    <a:pt x="125" y="174"/>
                    <a:pt x="126" y="166"/>
                  </a:cubicBezTo>
                  <a:cubicBezTo>
                    <a:pt x="138" y="111"/>
                    <a:pt x="138" y="111"/>
                    <a:pt x="138" y="111"/>
                  </a:cubicBezTo>
                  <a:cubicBezTo>
                    <a:pt x="140" y="105"/>
                    <a:pt x="142" y="101"/>
                    <a:pt x="144" y="99"/>
                  </a:cubicBezTo>
                  <a:cubicBezTo>
                    <a:pt x="145" y="101"/>
                    <a:pt x="148" y="105"/>
                    <a:pt x="150" y="111"/>
                  </a:cubicBezTo>
                  <a:cubicBezTo>
                    <a:pt x="162" y="166"/>
                    <a:pt x="162" y="166"/>
                    <a:pt x="162" y="166"/>
                  </a:cubicBezTo>
                  <a:cubicBezTo>
                    <a:pt x="163" y="174"/>
                    <a:pt x="163" y="183"/>
                    <a:pt x="163" y="192"/>
                  </a:cubicBezTo>
                  <a:close/>
                  <a:moveTo>
                    <a:pt x="128" y="104"/>
                  </a:moveTo>
                  <a:cubicBezTo>
                    <a:pt x="121" y="119"/>
                    <a:pt x="113" y="146"/>
                    <a:pt x="113" y="192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9" y="192"/>
                    <a:pt x="99" y="191"/>
                    <a:pt x="99" y="190"/>
                  </a:cubicBezTo>
                  <a:cubicBezTo>
                    <a:pt x="99" y="154"/>
                    <a:pt x="112" y="118"/>
                    <a:pt x="128" y="104"/>
                  </a:cubicBezTo>
                  <a:close/>
                  <a:moveTo>
                    <a:pt x="185" y="292"/>
                  </a:moveTo>
                  <a:cubicBezTo>
                    <a:pt x="98" y="292"/>
                    <a:pt x="98" y="292"/>
                    <a:pt x="98" y="292"/>
                  </a:cubicBezTo>
                  <a:cubicBezTo>
                    <a:pt x="54" y="292"/>
                    <a:pt x="18" y="254"/>
                    <a:pt x="12" y="204"/>
                  </a:cubicBezTo>
                  <a:cubicBezTo>
                    <a:pt x="168" y="204"/>
                    <a:pt x="168" y="204"/>
                    <a:pt x="168" y="204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0" y="204"/>
                    <a:pt x="170" y="204"/>
                  </a:cubicBezTo>
                  <a:cubicBezTo>
                    <a:pt x="271" y="204"/>
                    <a:pt x="271" y="204"/>
                    <a:pt x="271" y="204"/>
                  </a:cubicBezTo>
                  <a:cubicBezTo>
                    <a:pt x="265" y="254"/>
                    <a:pt x="229" y="292"/>
                    <a:pt x="185" y="29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grpSp>
          <p:nvGrpSpPr>
            <p:cNvPr id="25" name="Group 26">
              <a:extLst>
                <a:ext uri="{FF2B5EF4-FFF2-40B4-BE49-F238E27FC236}">
                  <a16:creationId xmlns:a16="http://schemas.microsoft.com/office/drawing/2014/main" id="{54BF4F3E-6B74-49E2-8432-FD1D7B2802B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469909" y="5308748"/>
              <a:ext cx="415925" cy="666750"/>
              <a:chOff x="8031163" y="1177925"/>
              <a:chExt cx="415925" cy="666750"/>
            </a:xfrm>
          </p:grpSpPr>
          <p:sp>
            <p:nvSpPr>
              <p:cNvPr id="30" name="Freeform 193">
                <a:extLst>
                  <a:ext uri="{FF2B5EF4-FFF2-40B4-BE49-F238E27FC236}">
                    <a16:creationId xmlns:a16="http://schemas.microsoft.com/office/drawing/2014/main" id="{8E9A363A-CA71-4F22-8100-891AC92C9E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30702" y="1708116"/>
                <a:ext cx="115905" cy="136547"/>
              </a:xfrm>
              <a:custGeom>
                <a:avLst/>
                <a:gdLst>
                  <a:gd name="T0" fmla="*/ 35 w 62"/>
                  <a:gd name="T1" fmla="*/ 0 h 72"/>
                  <a:gd name="T2" fmla="*/ 26 w 62"/>
                  <a:gd name="T3" fmla="*/ 16 h 72"/>
                  <a:gd name="T4" fmla="*/ 20 w 62"/>
                  <a:gd name="T5" fmla="*/ 63 h 72"/>
                  <a:gd name="T6" fmla="*/ 52 w 62"/>
                  <a:gd name="T7" fmla="*/ 61 h 72"/>
                  <a:gd name="T8" fmla="*/ 44 w 62"/>
                  <a:gd name="T9" fmla="*/ 17 h 72"/>
                  <a:gd name="T10" fmla="*/ 35 w 62"/>
                  <a:gd name="T11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72">
                    <a:moveTo>
                      <a:pt x="35" y="0"/>
                    </a:moveTo>
                    <a:cubicBezTo>
                      <a:pt x="35" y="0"/>
                      <a:pt x="31" y="10"/>
                      <a:pt x="26" y="16"/>
                    </a:cubicBezTo>
                    <a:cubicBezTo>
                      <a:pt x="21" y="22"/>
                      <a:pt x="0" y="45"/>
                      <a:pt x="20" y="63"/>
                    </a:cubicBezTo>
                    <a:cubicBezTo>
                      <a:pt x="30" y="72"/>
                      <a:pt x="45" y="71"/>
                      <a:pt x="52" y="61"/>
                    </a:cubicBezTo>
                    <a:cubicBezTo>
                      <a:pt x="60" y="52"/>
                      <a:pt x="62" y="36"/>
                      <a:pt x="44" y="17"/>
                    </a:cubicBezTo>
                    <a:cubicBezTo>
                      <a:pt x="38" y="10"/>
                      <a:pt x="35" y="0"/>
                      <a:pt x="35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31" name="Freeform 194">
                <a:extLst>
                  <a:ext uri="{FF2B5EF4-FFF2-40B4-BE49-F238E27FC236}">
                    <a16:creationId xmlns:a16="http://schemas.microsoft.com/office/drawing/2014/main" id="{57E60B1E-37BB-40B0-84C9-73F619E337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30702" y="1177808"/>
                <a:ext cx="415990" cy="503317"/>
              </a:xfrm>
              <a:custGeom>
                <a:avLst/>
                <a:gdLst>
                  <a:gd name="T0" fmla="*/ 206 w 220"/>
                  <a:gd name="T1" fmla="*/ 86 h 266"/>
                  <a:gd name="T2" fmla="*/ 158 w 220"/>
                  <a:gd name="T3" fmla="*/ 86 h 266"/>
                  <a:gd name="T4" fmla="*/ 126 w 220"/>
                  <a:gd name="T5" fmla="*/ 55 h 266"/>
                  <a:gd name="T6" fmla="*/ 126 w 220"/>
                  <a:gd name="T7" fmla="*/ 49 h 266"/>
                  <a:gd name="T8" fmla="*/ 137 w 220"/>
                  <a:gd name="T9" fmla="*/ 49 h 266"/>
                  <a:gd name="T10" fmla="*/ 156 w 220"/>
                  <a:gd name="T11" fmla="*/ 30 h 266"/>
                  <a:gd name="T12" fmla="*/ 137 w 220"/>
                  <a:gd name="T13" fmla="*/ 11 h 266"/>
                  <a:gd name="T14" fmla="*/ 125 w 220"/>
                  <a:gd name="T15" fmla="*/ 11 h 266"/>
                  <a:gd name="T16" fmla="*/ 109 w 220"/>
                  <a:gd name="T17" fmla="*/ 0 h 266"/>
                  <a:gd name="T18" fmla="*/ 93 w 220"/>
                  <a:gd name="T19" fmla="*/ 11 h 266"/>
                  <a:gd name="T20" fmla="*/ 81 w 220"/>
                  <a:gd name="T21" fmla="*/ 11 h 266"/>
                  <a:gd name="T22" fmla="*/ 62 w 220"/>
                  <a:gd name="T23" fmla="*/ 30 h 266"/>
                  <a:gd name="T24" fmla="*/ 81 w 220"/>
                  <a:gd name="T25" fmla="*/ 49 h 266"/>
                  <a:gd name="T26" fmla="*/ 92 w 220"/>
                  <a:gd name="T27" fmla="*/ 49 h 266"/>
                  <a:gd name="T28" fmla="*/ 92 w 220"/>
                  <a:gd name="T29" fmla="*/ 55 h 266"/>
                  <a:gd name="T30" fmla="*/ 58 w 220"/>
                  <a:gd name="T31" fmla="*/ 92 h 266"/>
                  <a:gd name="T32" fmla="*/ 0 w 220"/>
                  <a:gd name="T33" fmla="*/ 160 h 266"/>
                  <a:gd name="T34" fmla="*/ 0 w 220"/>
                  <a:gd name="T35" fmla="*/ 167 h 266"/>
                  <a:gd name="T36" fmla="*/ 0 w 220"/>
                  <a:gd name="T37" fmla="*/ 246 h 266"/>
                  <a:gd name="T38" fmla="*/ 20 w 220"/>
                  <a:gd name="T39" fmla="*/ 266 h 266"/>
                  <a:gd name="T40" fmla="*/ 50 w 220"/>
                  <a:gd name="T41" fmla="*/ 266 h 266"/>
                  <a:gd name="T42" fmla="*/ 70 w 220"/>
                  <a:gd name="T43" fmla="*/ 246 h 266"/>
                  <a:gd name="T44" fmla="*/ 70 w 220"/>
                  <a:gd name="T45" fmla="*/ 190 h 266"/>
                  <a:gd name="T46" fmla="*/ 70 w 220"/>
                  <a:gd name="T47" fmla="*/ 189 h 266"/>
                  <a:gd name="T48" fmla="*/ 102 w 220"/>
                  <a:gd name="T49" fmla="*/ 177 h 266"/>
                  <a:gd name="T50" fmla="*/ 206 w 220"/>
                  <a:gd name="T51" fmla="*/ 177 h 266"/>
                  <a:gd name="T52" fmla="*/ 220 w 220"/>
                  <a:gd name="T53" fmla="*/ 157 h 266"/>
                  <a:gd name="T54" fmla="*/ 220 w 220"/>
                  <a:gd name="T55" fmla="*/ 105 h 266"/>
                  <a:gd name="T56" fmla="*/ 206 w 220"/>
                  <a:gd name="T57" fmla="*/ 86 h 266"/>
                  <a:gd name="T58" fmla="*/ 82 w 220"/>
                  <a:gd name="T59" fmla="*/ 39 h 266"/>
                  <a:gd name="T60" fmla="*/ 72 w 220"/>
                  <a:gd name="T61" fmla="*/ 30 h 266"/>
                  <a:gd name="T62" fmla="*/ 82 w 220"/>
                  <a:gd name="T63" fmla="*/ 20 h 266"/>
                  <a:gd name="T64" fmla="*/ 136 w 220"/>
                  <a:gd name="T65" fmla="*/ 20 h 266"/>
                  <a:gd name="T66" fmla="*/ 146 w 220"/>
                  <a:gd name="T67" fmla="*/ 30 h 266"/>
                  <a:gd name="T68" fmla="*/ 136 w 220"/>
                  <a:gd name="T69" fmla="*/ 39 h 266"/>
                  <a:gd name="T70" fmla="*/ 82 w 220"/>
                  <a:gd name="T71" fmla="*/ 39 h 266"/>
                  <a:gd name="T72" fmla="*/ 100 w 220"/>
                  <a:gd name="T73" fmla="*/ 67 h 266"/>
                  <a:gd name="T74" fmla="*/ 106 w 220"/>
                  <a:gd name="T75" fmla="*/ 65 h 266"/>
                  <a:gd name="T76" fmla="*/ 106 w 220"/>
                  <a:gd name="T77" fmla="*/ 49 h 266"/>
                  <a:gd name="T78" fmla="*/ 113 w 220"/>
                  <a:gd name="T79" fmla="*/ 49 h 266"/>
                  <a:gd name="T80" fmla="*/ 113 w 220"/>
                  <a:gd name="T81" fmla="*/ 65 h 266"/>
                  <a:gd name="T82" fmla="*/ 118 w 220"/>
                  <a:gd name="T83" fmla="*/ 67 h 266"/>
                  <a:gd name="T84" fmla="*/ 146 w 220"/>
                  <a:gd name="T85" fmla="*/ 92 h 266"/>
                  <a:gd name="T86" fmla="*/ 108 w 220"/>
                  <a:gd name="T87" fmla="*/ 96 h 266"/>
                  <a:gd name="T88" fmla="*/ 72 w 220"/>
                  <a:gd name="T89" fmla="*/ 93 h 266"/>
                  <a:gd name="T90" fmla="*/ 100 w 220"/>
                  <a:gd name="T91" fmla="*/ 67 h 266"/>
                  <a:gd name="T92" fmla="*/ 206 w 220"/>
                  <a:gd name="T93" fmla="*/ 157 h 266"/>
                  <a:gd name="T94" fmla="*/ 205 w 220"/>
                  <a:gd name="T95" fmla="*/ 163 h 266"/>
                  <a:gd name="T96" fmla="*/ 102 w 220"/>
                  <a:gd name="T97" fmla="*/ 163 h 266"/>
                  <a:gd name="T98" fmla="*/ 57 w 220"/>
                  <a:gd name="T99" fmla="*/ 182 h 266"/>
                  <a:gd name="T100" fmla="*/ 56 w 220"/>
                  <a:gd name="T101" fmla="*/ 183 h 266"/>
                  <a:gd name="T102" fmla="*/ 56 w 220"/>
                  <a:gd name="T103" fmla="*/ 246 h 266"/>
                  <a:gd name="T104" fmla="*/ 50 w 220"/>
                  <a:gd name="T105" fmla="*/ 253 h 266"/>
                  <a:gd name="T106" fmla="*/ 20 w 220"/>
                  <a:gd name="T107" fmla="*/ 253 h 266"/>
                  <a:gd name="T108" fmla="*/ 14 w 220"/>
                  <a:gd name="T109" fmla="*/ 246 h 266"/>
                  <a:gd name="T110" fmla="*/ 14 w 220"/>
                  <a:gd name="T111" fmla="*/ 160 h 266"/>
                  <a:gd name="T112" fmla="*/ 66 w 220"/>
                  <a:gd name="T113" fmla="*/ 104 h 266"/>
                  <a:gd name="T114" fmla="*/ 67 w 220"/>
                  <a:gd name="T115" fmla="*/ 103 h 266"/>
                  <a:gd name="T116" fmla="*/ 110 w 220"/>
                  <a:gd name="T117" fmla="*/ 108 h 266"/>
                  <a:gd name="T118" fmla="*/ 159 w 220"/>
                  <a:gd name="T119" fmla="*/ 99 h 266"/>
                  <a:gd name="T120" fmla="*/ 205 w 220"/>
                  <a:gd name="T121" fmla="*/ 99 h 266"/>
                  <a:gd name="T122" fmla="*/ 206 w 220"/>
                  <a:gd name="T123" fmla="*/ 105 h 266"/>
                  <a:gd name="T124" fmla="*/ 206 w 220"/>
                  <a:gd name="T125" fmla="*/ 157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20" h="266">
                    <a:moveTo>
                      <a:pt x="206" y="86"/>
                    </a:moveTo>
                    <a:cubicBezTo>
                      <a:pt x="158" y="86"/>
                      <a:pt x="158" y="86"/>
                      <a:pt x="158" y="86"/>
                    </a:cubicBezTo>
                    <a:cubicBezTo>
                      <a:pt x="153" y="71"/>
                      <a:pt x="141" y="60"/>
                      <a:pt x="126" y="55"/>
                    </a:cubicBezTo>
                    <a:cubicBezTo>
                      <a:pt x="126" y="49"/>
                      <a:pt x="126" y="49"/>
                      <a:pt x="126" y="49"/>
                    </a:cubicBezTo>
                    <a:cubicBezTo>
                      <a:pt x="137" y="49"/>
                      <a:pt x="137" y="49"/>
                      <a:pt x="137" y="49"/>
                    </a:cubicBezTo>
                    <a:cubicBezTo>
                      <a:pt x="148" y="49"/>
                      <a:pt x="156" y="41"/>
                      <a:pt x="156" y="30"/>
                    </a:cubicBezTo>
                    <a:cubicBezTo>
                      <a:pt x="156" y="20"/>
                      <a:pt x="148" y="11"/>
                      <a:pt x="137" y="11"/>
                    </a:cubicBezTo>
                    <a:cubicBezTo>
                      <a:pt x="125" y="11"/>
                      <a:pt x="125" y="11"/>
                      <a:pt x="125" y="11"/>
                    </a:cubicBezTo>
                    <a:cubicBezTo>
                      <a:pt x="123" y="5"/>
                      <a:pt x="116" y="0"/>
                      <a:pt x="109" y="0"/>
                    </a:cubicBezTo>
                    <a:cubicBezTo>
                      <a:pt x="102" y="0"/>
                      <a:pt x="96" y="5"/>
                      <a:pt x="93" y="11"/>
                    </a:cubicBezTo>
                    <a:cubicBezTo>
                      <a:pt x="81" y="11"/>
                      <a:pt x="81" y="11"/>
                      <a:pt x="81" y="11"/>
                    </a:cubicBezTo>
                    <a:cubicBezTo>
                      <a:pt x="71" y="11"/>
                      <a:pt x="62" y="20"/>
                      <a:pt x="62" y="30"/>
                    </a:cubicBezTo>
                    <a:cubicBezTo>
                      <a:pt x="62" y="41"/>
                      <a:pt x="71" y="49"/>
                      <a:pt x="81" y="49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2" y="55"/>
                      <a:pt x="92" y="55"/>
                      <a:pt x="92" y="55"/>
                    </a:cubicBezTo>
                    <a:cubicBezTo>
                      <a:pt x="75" y="61"/>
                      <a:pt x="63" y="74"/>
                      <a:pt x="58" y="92"/>
                    </a:cubicBezTo>
                    <a:cubicBezTo>
                      <a:pt x="32" y="99"/>
                      <a:pt x="1" y="117"/>
                      <a:pt x="0" y="160"/>
                    </a:cubicBezTo>
                    <a:cubicBezTo>
                      <a:pt x="0" y="162"/>
                      <a:pt x="0" y="165"/>
                      <a:pt x="0" y="167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257"/>
                      <a:pt x="9" y="266"/>
                      <a:pt x="20" y="266"/>
                    </a:cubicBezTo>
                    <a:cubicBezTo>
                      <a:pt x="50" y="266"/>
                      <a:pt x="50" y="266"/>
                      <a:pt x="50" y="266"/>
                    </a:cubicBezTo>
                    <a:cubicBezTo>
                      <a:pt x="61" y="266"/>
                      <a:pt x="70" y="257"/>
                      <a:pt x="70" y="246"/>
                    </a:cubicBezTo>
                    <a:cubicBezTo>
                      <a:pt x="70" y="190"/>
                      <a:pt x="70" y="190"/>
                      <a:pt x="70" y="190"/>
                    </a:cubicBezTo>
                    <a:cubicBezTo>
                      <a:pt x="70" y="189"/>
                      <a:pt x="70" y="189"/>
                      <a:pt x="70" y="189"/>
                    </a:cubicBezTo>
                    <a:cubicBezTo>
                      <a:pt x="71" y="189"/>
                      <a:pt x="81" y="177"/>
                      <a:pt x="102" y="177"/>
                    </a:cubicBezTo>
                    <a:cubicBezTo>
                      <a:pt x="206" y="177"/>
                      <a:pt x="206" y="177"/>
                      <a:pt x="206" y="177"/>
                    </a:cubicBezTo>
                    <a:cubicBezTo>
                      <a:pt x="214" y="177"/>
                      <a:pt x="220" y="168"/>
                      <a:pt x="220" y="157"/>
                    </a:cubicBezTo>
                    <a:cubicBezTo>
                      <a:pt x="220" y="105"/>
                      <a:pt x="220" y="105"/>
                      <a:pt x="220" y="105"/>
                    </a:cubicBezTo>
                    <a:cubicBezTo>
                      <a:pt x="220" y="94"/>
                      <a:pt x="214" y="86"/>
                      <a:pt x="206" y="86"/>
                    </a:cubicBezTo>
                    <a:close/>
                    <a:moveTo>
                      <a:pt x="82" y="39"/>
                    </a:moveTo>
                    <a:cubicBezTo>
                      <a:pt x="77" y="39"/>
                      <a:pt x="72" y="35"/>
                      <a:pt x="72" y="30"/>
                    </a:cubicBezTo>
                    <a:cubicBezTo>
                      <a:pt x="72" y="24"/>
                      <a:pt x="77" y="20"/>
                      <a:pt x="82" y="20"/>
                    </a:cubicBezTo>
                    <a:cubicBezTo>
                      <a:pt x="136" y="20"/>
                      <a:pt x="136" y="20"/>
                      <a:pt x="136" y="20"/>
                    </a:cubicBezTo>
                    <a:cubicBezTo>
                      <a:pt x="142" y="20"/>
                      <a:pt x="146" y="24"/>
                      <a:pt x="146" y="30"/>
                    </a:cubicBezTo>
                    <a:cubicBezTo>
                      <a:pt x="146" y="35"/>
                      <a:pt x="142" y="39"/>
                      <a:pt x="136" y="39"/>
                    </a:cubicBezTo>
                    <a:lnTo>
                      <a:pt x="82" y="39"/>
                    </a:lnTo>
                    <a:close/>
                    <a:moveTo>
                      <a:pt x="100" y="67"/>
                    </a:moveTo>
                    <a:cubicBezTo>
                      <a:pt x="106" y="65"/>
                      <a:pt x="106" y="65"/>
                      <a:pt x="106" y="65"/>
                    </a:cubicBezTo>
                    <a:cubicBezTo>
                      <a:pt x="106" y="49"/>
                      <a:pt x="106" y="49"/>
                      <a:pt x="106" y="49"/>
                    </a:cubicBez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65"/>
                      <a:pt x="113" y="65"/>
                      <a:pt x="113" y="65"/>
                    </a:cubicBezTo>
                    <a:cubicBezTo>
                      <a:pt x="118" y="67"/>
                      <a:pt x="118" y="67"/>
                      <a:pt x="118" y="67"/>
                    </a:cubicBezTo>
                    <a:cubicBezTo>
                      <a:pt x="131" y="70"/>
                      <a:pt x="141" y="79"/>
                      <a:pt x="146" y="92"/>
                    </a:cubicBezTo>
                    <a:cubicBezTo>
                      <a:pt x="134" y="95"/>
                      <a:pt x="122" y="96"/>
                      <a:pt x="108" y="96"/>
                    </a:cubicBezTo>
                    <a:cubicBezTo>
                      <a:pt x="92" y="96"/>
                      <a:pt x="79" y="94"/>
                      <a:pt x="72" y="93"/>
                    </a:cubicBezTo>
                    <a:cubicBezTo>
                      <a:pt x="76" y="80"/>
                      <a:pt x="87" y="70"/>
                      <a:pt x="100" y="67"/>
                    </a:cubicBezTo>
                    <a:close/>
                    <a:moveTo>
                      <a:pt x="206" y="157"/>
                    </a:moveTo>
                    <a:cubicBezTo>
                      <a:pt x="206" y="160"/>
                      <a:pt x="205" y="162"/>
                      <a:pt x="205" y="163"/>
                    </a:cubicBezTo>
                    <a:cubicBezTo>
                      <a:pt x="102" y="163"/>
                      <a:pt x="102" y="163"/>
                      <a:pt x="102" y="163"/>
                    </a:cubicBezTo>
                    <a:cubicBezTo>
                      <a:pt x="73" y="163"/>
                      <a:pt x="58" y="181"/>
                      <a:pt x="57" y="182"/>
                    </a:cubicBezTo>
                    <a:cubicBezTo>
                      <a:pt x="56" y="183"/>
                      <a:pt x="56" y="183"/>
                      <a:pt x="56" y="183"/>
                    </a:cubicBezTo>
                    <a:cubicBezTo>
                      <a:pt x="56" y="246"/>
                      <a:pt x="56" y="246"/>
                      <a:pt x="56" y="246"/>
                    </a:cubicBezTo>
                    <a:cubicBezTo>
                      <a:pt x="56" y="250"/>
                      <a:pt x="54" y="253"/>
                      <a:pt x="50" y="253"/>
                    </a:cubicBezTo>
                    <a:cubicBezTo>
                      <a:pt x="20" y="253"/>
                      <a:pt x="20" y="253"/>
                      <a:pt x="20" y="253"/>
                    </a:cubicBezTo>
                    <a:cubicBezTo>
                      <a:pt x="17" y="253"/>
                      <a:pt x="14" y="250"/>
                      <a:pt x="14" y="246"/>
                    </a:cubicBezTo>
                    <a:cubicBezTo>
                      <a:pt x="14" y="217"/>
                      <a:pt x="14" y="162"/>
                      <a:pt x="14" y="160"/>
                    </a:cubicBezTo>
                    <a:cubicBezTo>
                      <a:pt x="15" y="131"/>
                      <a:pt x="32" y="112"/>
                      <a:pt x="66" y="104"/>
                    </a:cubicBezTo>
                    <a:cubicBezTo>
                      <a:pt x="67" y="103"/>
                      <a:pt x="67" y="103"/>
                      <a:pt x="67" y="103"/>
                    </a:cubicBezTo>
                    <a:cubicBezTo>
                      <a:pt x="82" y="106"/>
                      <a:pt x="97" y="108"/>
                      <a:pt x="110" y="108"/>
                    </a:cubicBezTo>
                    <a:cubicBezTo>
                      <a:pt x="138" y="108"/>
                      <a:pt x="155" y="101"/>
                      <a:pt x="159" y="99"/>
                    </a:cubicBezTo>
                    <a:cubicBezTo>
                      <a:pt x="205" y="99"/>
                      <a:pt x="205" y="99"/>
                      <a:pt x="205" y="99"/>
                    </a:cubicBezTo>
                    <a:cubicBezTo>
                      <a:pt x="205" y="100"/>
                      <a:pt x="206" y="102"/>
                      <a:pt x="206" y="105"/>
                    </a:cubicBezTo>
                    <a:lnTo>
                      <a:pt x="206" y="157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</p:grpSp>
        <p:sp>
          <p:nvSpPr>
            <p:cNvPr id="26" name="Content Placeholder 2">
              <a:extLst>
                <a:ext uri="{FF2B5EF4-FFF2-40B4-BE49-F238E27FC236}">
                  <a16:creationId xmlns:a16="http://schemas.microsoft.com/office/drawing/2014/main" id="{31684422-1F77-4BDA-9CA9-60EA6CA57A4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084294" y="2401463"/>
              <a:ext cx="1931813" cy="849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chemeClr val="tx2"/>
                  </a:solidFill>
                </a:rPr>
                <a:t>Clever &amp; Intellegence</a:t>
              </a:r>
              <a:r>
                <a:rPr lang="en-US" altLang="zh-CN" sz="1400" b="1">
                  <a:solidFill>
                    <a:schemeClr val="tx2"/>
                  </a:solidFill>
                </a:rPr>
                <a:t/>
              </a:r>
              <a:br>
                <a:rPr lang="en-US" altLang="zh-CN" sz="1400" b="1">
                  <a:solidFill>
                    <a:schemeClr val="tx2"/>
                  </a:solidFill>
                </a:rPr>
              </a:br>
              <a:r>
                <a:rPr lang="en-US" altLang="zh-CN" sz="1100">
                  <a:solidFill>
                    <a:schemeClr val="tx2"/>
                  </a:solidFill>
                </a:rPr>
                <a:t>Lorem ipsum dolor sit amet, consectetur adipiscing elit. </a:t>
              </a:r>
            </a:p>
          </p:txBody>
        </p:sp>
        <p:sp>
          <p:nvSpPr>
            <p:cNvPr id="27" name="Content Placeholder 2">
              <a:extLst>
                <a:ext uri="{FF2B5EF4-FFF2-40B4-BE49-F238E27FC236}">
                  <a16:creationId xmlns:a16="http://schemas.microsoft.com/office/drawing/2014/main" id="{5097BABB-7958-45BF-826C-A824993A1EA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084294" y="3393719"/>
              <a:ext cx="1931813" cy="849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chemeClr val="tx2"/>
                  </a:solidFill>
                </a:rPr>
                <a:t>Clever &amp; Intellegence</a:t>
              </a:r>
              <a:r>
                <a:rPr lang="en-US" altLang="zh-CN" sz="1400" b="1">
                  <a:solidFill>
                    <a:schemeClr val="tx2"/>
                  </a:solidFill>
                </a:rPr>
                <a:t/>
              </a:r>
              <a:br>
                <a:rPr lang="en-US" altLang="zh-CN" sz="1400" b="1">
                  <a:solidFill>
                    <a:schemeClr val="tx2"/>
                  </a:solidFill>
                </a:rPr>
              </a:br>
              <a:r>
                <a:rPr lang="en-US" altLang="zh-CN" sz="1100">
                  <a:solidFill>
                    <a:schemeClr val="tx2"/>
                  </a:solidFill>
                </a:rPr>
                <a:t>Lorem ipsum dolor sit amet, consectetur adipiscing elit. </a:t>
              </a:r>
            </a:p>
          </p:txBody>
        </p:sp>
        <p:sp>
          <p:nvSpPr>
            <p:cNvPr id="28" name="Content Placeholder 2">
              <a:extLst>
                <a:ext uri="{FF2B5EF4-FFF2-40B4-BE49-F238E27FC236}">
                  <a16:creationId xmlns:a16="http://schemas.microsoft.com/office/drawing/2014/main" id="{F4F36995-B202-46D5-B3D8-74DA40C9440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082348" y="4383802"/>
              <a:ext cx="1931813" cy="849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chemeClr val="tx2"/>
                  </a:solidFill>
                </a:rPr>
                <a:t>Clever &amp; Intellegence</a:t>
              </a:r>
              <a:r>
                <a:rPr lang="en-US" altLang="zh-CN" sz="1400" b="1">
                  <a:solidFill>
                    <a:schemeClr val="tx2"/>
                  </a:solidFill>
                </a:rPr>
                <a:t/>
              </a:r>
              <a:br>
                <a:rPr lang="en-US" altLang="zh-CN" sz="1400" b="1">
                  <a:solidFill>
                    <a:schemeClr val="tx2"/>
                  </a:solidFill>
                </a:rPr>
              </a:br>
              <a:r>
                <a:rPr lang="en-US" altLang="zh-CN" sz="1100">
                  <a:solidFill>
                    <a:schemeClr val="tx2"/>
                  </a:solidFill>
                </a:rPr>
                <a:t>Lorem ipsum dolor sit amet, consectetur adipiscing elit. </a:t>
              </a:r>
            </a:p>
          </p:txBody>
        </p:sp>
        <p:sp>
          <p:nvSpPr>
            <p:cNvPr id="29" name="Content Placeholder 2">
              <a:extLst>
                <a:ext uri="{FF2B5EF4-FFF2-40B4-BE49-F238E27FC236}">
                  <a16:creationId xmlns:a16="http://schemas.microsoft.com/office/drawing/2014/main" id="{4771B12B-BAD8-474E-B284-56C5DD2F7EE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103434" y="5332673"/>
              <a:ext cx="1931813" cy="849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chemeClr val="tx2"/>
                  </a:solidFill>
                </a:rPr>
                <a:t>Clever &amp; Intellegence</a:t>
              </a:r>
              <a:r>
                <a:rPr lang="en-US" altLang="zh-CN" sz="1400" b="1">
                  <a:solidFill>
                    <a:schemeClr val="tx2"/>
                  </a:solidFill>
                </a:rPr>
                <a:t/>
              </a:r>
              <a:br>
                <a:rPr lang="en-US" altLang="zh-CN" sz="1400" b="1">
                  <a:solidFill>
                    <a:schemeClr val="tx2"/>
                  </a:solidFill>
                </a:rPr>
              </a:br>
              <a:r>
                <a:rPr lang="en-US" altLang="zh-CN" sz="1100">
                  <a:solidFill>
                    <a:schemeClr val="tx2"/>
                  </a:solidFill>
                </a:rPr>
                <a:t>Lorem ipsum dolor sit amet, consectetur adipiscing elit. </a:t>
              </a:r>
            </a:p>
          </p:txBody>
        </p:sp>
      </p:grpSp>
      <p:grpSp>
        <p:nvGrpSpPr>
          <p:cNvPr id="34" name="Group 35">
            <a:extLst>
              <a:ext uri="{FF2B5EF4-FFF2-40B4-BE49-F238E27FC236}">
                <a16:creationId xmlns:a16="http://schemas.microsoft.com/office/drawing/2014/main" id="{67D377BD-659C-4521-A214-F2F022C940DF}"/>
              </a:ext>
            </a:extLst>
          </p:cNvPr>
          <p:cNvGrpSpPr>
            <a:grpSpLocks/>
          </p:cNvGrpSpPr>
          <p:nvPr/>
        </p:nvGrpSpPr>
        <p:grpSpPr bwMode="auto">
          <a:xfrm>
            <a:off x="667228" y="1600994"/>
            <a:ext cx="2754312" cy="3779837"/>
            <a:chOff x="871402" y="2401463"/>
            <a:chExt cx="2755479" cy="3780430"/>
          </a:xfrm>
        </p:grpSpPr>
        <p:sp>
          <p:nvSpPr>
            <p:cNvPr id="35" name="Freeform 127">
              <a:extLst>
                <a:ext uri="{FF2B5EF4-FFF2-40B4-BE49-F238E27FC236}">
                  <a16:creationId xmlns:a16="http://schemas.microsoft.com/office/drawing/2014/main" id="{21A5F55C-4A65-4FC4-B89C-7689BF4736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5018" y="2476087"/>
              <a:ext cx="489157" cy="582704"/>
            </a:xfrm>
            <a:custGeom>
              <a:avLst/>
              <a:gdLst>
                <a:gd name="T0" fmla="*/ 237 w 259"/>
                <a:gd name="T1" fmla="*/ 79 h 308"/>
                <a:gd name="T2" fmla="*/ 234 w 259"/>
                <a:gd name="T3" fmla="*/ 123 h 308"/>
                <a:gd name="T4" fmla="*/ 213 w 259"/>
                <a:gd name="T5" fmla="*/ 132 h 308"/>
                <a:gd name="T6" fmla="*/ 209 w 259"/>
                <a:gd name="T7" fmla="*/ 126 h 308"/>
                <a:gd name="T8" fmla="*/ 142 w 259"/>
                <a:gd name="T9" fmla="*/ 100 h 308"/>
                <a:gd name="T10" fmla="*/ 212 w 259"/>
                <a:gd name="T11" fmla="*/ 50 h 308"/>
                <a:gd name="T12" fmla="*/ 95 w 259"/>
                <a:gd name="T13" fmla="*/ 0 h 308"/>
                <a:gd name="T14" fmla="*/ 95 w 259"/>
                <a:gd name="T15" fmla="*/ 100 h 308"/>
                <a:gd name="T16" fmla="*/ 114 w 259"/>
                <a:gd name="T17" fmla="*/ 115 h 308"/>
                <a:gd name="T18" fmla="*/ 49 w 259"/>
                <a:gd name="T19" fmla="*/ 132 h 308"/>
                <a:gd name="T20" fmla="*/ 27 w 259"/>
                <a:gd name="T21" fmla="*/ 123 h 308"/>
                <a:gd name="T22" fmla="*/ 22 w 259"/>
                <a:gd name="T23" fmla="*/ 79 h 308"/>
                <a:gd name="T24" fmla="*/ 16 w 259"/>
                <a:gd name="T25" fmla="*/ 122 h 308"/>
                <a:gd name="T26" fmla="*/ 49 w 259"/>
                <a:gd name="T27" fmla="*/ 159 h 308"/>
                <a:gd name="T28" fmla="*/ 109 w 259"/>
                <a:gd name="T29" fmla="*/ 165 h 308"/>
                <a:gd name="T30" fmla="*/ 58 w 259"/>
                <a:gd name="T31" fmla="*/ 241 h 308"/>
                <a:gd name="T32" fmla="*/ 58 w 259"/>
                <a:gd name="T33" fmla="*/ 279 h 308"/>
                <a:gd name="T34" fmla="*/ 53 w 259"/>
                <a:gd name="T35" fmla="*/ 290 h 308"/>
                <a:gd name="T36" fmla="*/ 88 w 259"/>
                <a:gd name="T37" fmla="*/ 290 h 308"/>
                <a:gd name="T38" fmla="*/ 176 w 259"/>
                <a:gd name="T39" fmla="*/ 279 h 308"/>
                <a:gd name="T40" fmla="*/ 189 w 259"/>
                <a:gd name="T41" fmla="*/ 308 h 308"/>
                <a:gd name="T42" fmla="*/ 201 w 259"/>
                <a:gd name="T43" fmla="*/ 278 h 308"/>
                <a:gd name="T44" fmla="*/ 198 w 259"/>
                <a:gd name="T45" fmla="*/ 241 h 308"/>
                <a:gd name="T46" fmla="*/ 147 w 259"/>
                <a:gd name="T47" fmla="*/ 165 h 308"/>
                <a:gd name="T48" fmla="*/ 213 w 259"/>
                <a:gd name="T49" fmla="*/ 159 h 308"/>
                <a:gd name="T50" fmla="*/ 246 w 259"/>
                <a:gd name="T51" fmla="*/ 121 h 308"/>
                <a:gd name="T52" fmla="*/ 12 w 259"/>
                <a:gd name="T53" fmla="*/ 101 h 308"/>
                <a:gd name="T54" fmla="*/ 33 w 259"/>
                <a:gd name="T55" fmla="*/ 101 h 308"/>
                <a:gd name="T56" fmla="*/ 12 w 259"/>
                <a:gd name="T57" fmla="*/ 101 h 308"/>
                <a:gd name="T58" fmla="*/ 61 w 259"/>
                <a:gd name="T59" fmla="*/ 290 h 308"/>
                <a:gd name="T60" fmla="*/ 80 w 259"/>
                <a:gd name="T61" fmla="*/ 290 h 308"/>
                <a:gd name="T62" fmla="*/ 56 w 259"/>
                <a:gd name="T63" fmla="*/ 50 h 308"/>
                <a:gd name="T64" fmla="*/ 162 w 259"/>
                <a:gd name="T65" fmla="*/ 11 h 308"/>
                <a:gd name="T66" fmla="*/ 162 w 259"/>
                <a:gd name="T67" fmla="*/ 88 h 308"/>
                <a:gd name="T68" fmla="*/ 56 w 259"/>
                <a:gd name="T69" fmla="*/ 50 h 308"/>
                <a:gd name="T70" fmla="*/ 179 w 259"/>
                <a:gd name="T71" fmla="*/ 290 h 308"/>
                <a:gd name="T72" fmla="*/ 199 w 259"/>
                <a:gd name="T73" fmla="*/ 290 h 308"/>
                <a:gd name="T74" fmla="*/ 207 w 259"/>
                <a:gd name="T75" fmla="*/ 260 h 308"/>
                <a:gd name="T76" fmla="*/ 58 w 259"/>
                <a:gd name="T77" fmla="*/ 268 h 308"/>
                <a:gd name="T78" fmla="*/ 58 w 259"/>
                <a:gd name="T79" fmla="*/ 251 h 308"/>
                <a:gd name="T80" fmla="*/ 207 w 259"/>
                <a:gd name="T81" fmla="*/ 260 h 308"/>
                <a:gd name="T82" fmla="*/ 121 w 259"/>
                <a:gd name="T83" fmla="*/ 241 h 308"/>
                <a:gd name="T84" fmla="*/ 136 w 259"/>
                <a:gd name="T85" fmla="*/ 165 h 308"/>
                <a:gd name="T86" fmla="*/ 201 w 259"/>
                <a:gd name="T87" fmla="*/ 153 h 308"/>
                <a:gd name="T88" fmla="*/ 61 w 259"/>
                <a:gd name="T89" fmla="*/ 138 h 308"/>
                <a:gd name="T90" fmla="*/ 201 w 259"/>
                <a:gd name="T91" fmla="*/ 153 h 308"/>
                <a:gd name="T92" fmla="*/ 226 w 259"/>
                <a:gd name="T93" fmla="*/ 101 h 308"/>
                <a:gd name="T94" fmla="*/ 247 w 259"/>
                <a:gd name="T95" fmla="*/ 101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9" h="308">
                  <a:moveTo>
                    <a:pt x="259" y="101"/>
                  </a:moveTo>
                  <a:cubicBezTo>
                    <a:pt x="259" y="89"/>
                    <a:pt x="249" y="79"/>
                    <a:pt x="237" y="79"/>
                  </a:cubicBezTo>
                  <a:cubicBezTo>
                    <a:pt x="225" y="79"/>
                    <a:pt x="215" y="89"/>
                    <a:pt x="215" y="101"/>
                  </a:cubicBezTo>
                  <a:cubicBezTo>
                    <a:pt x="215" y="112"/>
                    <a:pt x="223" y="122"/>
                    <a:pt x="234" y="123"/>
                  </a:cubicBezTo>
                  <a:cubicBezTo>
                    <a:pt x="232" y="129"/>
                    <a:pt x="227" y="138"/>
                    <a:pt x="213" y="141"/>
                  </a:cubicBezTo>
                  <a:cubicBezTo>
                    <a:pt x="213" y="132"/>
                    <a:pt x="213" y="132"/>
                    <a:pt x="213" y="132"/>
                  </a:cubicBezTo>
                  <a:cubicBezTo>
                    <a:pt x="213" y="129"/>
                    <a:pt x="211" y="127"/>
                    <a:pt x="209" y="126"/>
                  </a:cubicBezTo>
                  <a:cubicBezTo>
                    <a:pt x="209" y="126"/>
                    <a:pt x="209" y="126"/>
                    <a:pt x="209" y="126"/>
                  </a:cubicBezTo>
                  <a:cubicBezTo>
                    <a:pt x="196" y="120"/>
                    <a:pt x="160" y="117"/>
                    <a:pt x="142" y="115"/>
                  </a:cubicBezTo>
                  <a:cubicBezTo>
                    <a:pt x="142" y="100"/>
                    <a:pt x="142" y="100"/>
                    <a:pt x="142" y="100"/>
                  </a:cubicBezTo>
                  <a:cubicBezTo>
                    <a:pt x="162" y="100"/>
                    <a:pt x="162" y="100"/>
                    <a:pt x="162" y="100"/>
                  </a:cubicBezTo>
                  <a:cubicBezTo>
                    <a:pt x="189" y="100"/>
                    <a:pt x="212" y="78"/>
                    <a:pt x="212" y="50"/>
                  </a:cubicBezTo>
                  <a:cubicBezTo>
                    <a:pt x="212" y="22"/>
                    <a:pt x="189" y="0"/>
                    <a:pt x="162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67" y="0"/>
                    <a:pt x="45" y="22"/>
                    <a:pt x="45" y="50"/>
                  </a:cubicBezTo>
                  <a:cubicBezTo>
                    <a:pt x="45" y="78"/>
                    <a:pt x="67" y="100"/>
                    <a:pt x="95" y="100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78" y="117"/>
                    <a:pt x="57" y="125"/>
                    <a:pt x="55" y="126"/>
                  </a:cubicBezTo>
                  <a:cubicBezTo>
                    <a:pt x="52" y="126"/>
                    <a:pt x="49" y="129"/>
                    <a:pt x="49" y="132"/>
                  </a:cubicBezTo>
                  <a:cubicBezTo>
                    <a:pt x="49" y="142"/>
                    <a:pt x="49" y="142"/>
                    <a:pt x="49" y="142"/>
                  </a:cubicBezTo>
                  <a:cubicBezTo>
                    <a:pt x="35" y="138"/>
                    <a:pt x="29" y="128"/>
                    <a:pt x="27" y="123"/>
                  </a:cubicBezTo>
                  <a:cubicBezTo>
                    <a:pt x="37" y="121"/>
                    <a:pt x="45" y="112"/>
                    <a:pt x="45" y="101"/>
                  </a:cubicBezTo>
                  <a:cubicBezTo>
                    <a:pt x="45" y="89"/>
                    <a:pt x="35" y="79"/>
                    <a:pt x="22" y="79"/>
                  </a:cubicBezTo>
                  <a:cubicBezTo>
                    <a:pt x="10" y="79"/>
                    <a:pt x="0" y="89"/>
                    <a:pt x="0" y="101"/>
                  </a:cubicBezTo>
                  <a:cubicBezTo>
                    <a:pt x="0" y="111"/>
                    <a:pt x="7" y="119"/>
                    <a:pt x="16" y="122"/>
                  </a:cubicBezTo>
                  <a:cubicBezTo>
                    <a:pt x="18" y="132"/>
                    <a:pt x="27" y="148"/>
                    <a:pt x="49" y="152"/>
                  </a:cubicBezTo>
                  <a:cubicBezTo>
                    <a:pt x="49" y="159"/>
                    <a:pt x="49" y="159"/>
                    <a:pt x="49" y="159"/>
                  </a:cubicBezTo>
                  <a:cubicBezTo>
                    <a:pt x="49" y="162"/>
                    <a:pt x="52" y="165"/>
                    <a:pt x="55" y="165"/>
                  </a:cubicBezTo>
                  <a:cubicBezTo>
                    <a:pt x="109" y="165"/>
                    <a:pt x="109" y="165"/>
                    <a:pt x="109" y="165"/>
                  </a:cubicBezTo>
                  <a:cubicBezTo>
                    <a:pt x="109" y="241"/>
                    <a:pt x="109" y="241"/>
                    <a:pt x="109" y="241"/>
                  </a:cubicBezTo>
                  <a:cubicBezTo>
                    <a:pt x="58" y="241"/>
                    <a:pt x="58" y="241"/>
                    <a:pt x="58" y="241"/>
                  </a:cubicBezTo>
                  <a:cubicBezTo>
                    <a:pt x="49" y="241"/>
                    <a:pt x="41" y="250"/>
                    <a:pt x="41" y="260"/>
                  </a:cubicBezTo>
                  <a:cubicBezTo>
                    <a:pt x="41" y="270"/>
                    <a:pt x="49" y="279"/>
                    <a:pt x="58" y="279"/>
                  </a:cubicBezTo>
                  <a:cubicBezTo>
                    <a:pt x="58" y="279"/>
                    <a:pt x="58" y="279"/>
                    <a:pt x="58" y="279"/>
                  </a:cubicBezTo>
                  <a:cubicBezTo>
                    <a:pt x="55" y="282"/>
                    <a:pt x="53" y="286"/>
                    <a:pt x="53" y="290"/>
                  </a:cubicBezTo>
                  <a:cubicBezTo>
                    <a:pt x="53" y="300"/>
                    <a:pt x="61" y="308"/>
                    <a:pt x="71" y="308"/>
                  </a:cubicBezTo>
                  <a:cubicBezTo>
                    <a:pt x="80" y="308"/>
                    <a:pt x="88" y="300"/>
                    <a:pt x="88" y="290"/>
                  </a:cubicBezTo>
                  <a:cubicBezTo>
                    <a:pt x="88" y="286"/>
                    <a:pt x="86" y="282"/>
                    <a:pt x="83" y="279"/>
                  </a:cubicBezTo>
                  <a:cubicBezTo>
                    <a:pt x="176" y="279"/>
                    <a:pt x="176" y="279"/>
                    <a:pt x="176" y="279"/>
                  </a:cubicBezTo>
                  <a:cubicBezTo>
                    <a:pt x="173" y="282"/>
                    <a:pt x="171" y="286"/>
                    <a:pt x="171" y="290"/>
                  </a:cubicBezTo>
                  <a:cubicBezTo>
                    <a:pt x="171" y="300"/>
                    <a:pt x="179" y="308"/>
                    <a:pt x="189" y="308"/>
                  </a:cubicBezTo>
                  <a:cubicBezTo>
                    <a:pt x="198" y="308"/>
                    <a:pt x="206" y="300"/>
                    <a:pt x="206" y="290"/>
                  </a:cubicBezTo>
                  <a:cubicBezTo>
                    <a:pt x="206" y="286"/>
                    <a:pt x="204" y="281"/>
                    <a:pt x="201" y="278"/>
                  </a:cubicBezTo>
                  <a:cubicBezTo>
                    <a:pt x="209" y="277"/>
                    <a:pt x="215" y="269"/>
                    <a:pt x="215" y="260"/>
                  </a:cubicBezTo>
                  <a:cubicBezTo>
                    <a:pt x="215" y="250"/>
                    <a:pt x="208" y="241"/>
                    <a:pt x="198" y="241"/>
                  </a:cubicBezTo>
                  <a:cubicBezTo>
                    <a:pt x="147" y="241"/>
                    <a:pt x="147" y="241"/>
                    <a:pt x="147" y="241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207" y="165"/>
                    <a:pt x="207" y="165"/>
                    <a:pt x="207" y="165"/>
                  </a:cubicBezTo>
                  <a:cubicBezTo>
                    <a:pt x="210" y="165"/>
                    <a:pt x="213" y="162"/>
                    <a:pt x="213" y="159"/>
                  </a:cubicBezTo>
                  <a:cubicBezTo>
                    <a:pt x="213" y="152"/>
                    <a:pt x="213" y="152"/>
                    <a:pt x="213" y="152"/>
                  </a:cubicBezTo>
                  <a:cubicBezTo>
                    <a:pt x="235" y="148"/>
                    <a:pt x="244" y="131"/>
                    <a:pt x="246" y="121"/>
                  </a:cubicBezTo>
                  <a:cubicBezTo>
                    <a:pt x="253" y="118"/>
                    <a:pt x="259" y="110"/>
                    <a:pt x="259" y="101"/>
                  </a:cubicBezTo>
                  <a:close/>
                  <a:moveTo>
                    <a:pt x="12" y="101"/>
                  </a:moveTo>
                  <a:cubicBezTo>
                    <a:pt x="12" y="95"/>
                    <a:pt x="16" y="90"/>
                    <a:pt x="22" y="90"/>
                  </a:cubicBezTo>
                  <a:cubicBezTo>
                    <a:pt x="28" y="90"/>
                    <a:pt x="33" y="95"/>
                    <a:pt x="33" y="101"/>
                  </a:cubicBezTo>
                  <a:cubicBezTo>
                    <a:pt x="33" y="107"/>
                    <a:pt x="28" y="112"/>
                    <a:pt x="22" y="112"/>
                  </a:cubicBezTo>
                  <a:cubicBezTo>
                    <a:pt x="16" y="112"/>
                    <a:pt x="12" y="107"/>
                    <a:pt x="12" y="101"/>
                  </a:cubicBezTo>
                  <a:close/>
                  <a:moveTo>
                    <a:pt x="71" y="300"/>
                  </a:moveTo>
                  <a:cubicBezTo>
                    <a:pt x="65" y="300"/>
                    <a:pt x="61" y="296"/>
                    <a:pt x="61" y="290"/>
                  </a:cubicBezTo>
                  <a:cubicBezTo>
                    <a:pt x="61" y="285"/>
                    <a:pt x="65" y="281"/>
                    <a:pt x="71" y="281"/>
                  </a:cubicBezTo>
                  <a:cubicBezTo>
                    <a:pt x="76" y="281"/>
                    <a:pt x="80" y="285"/>
                    <a:pt x="80" y="290"/>
                  </a:cubicBezTo>
                  <a:cubicBezTo>
                    <a:pt x="80" y="296"/>
                    <a:pt x="76" y="300"/>
                    <a:pt x="71" y="300"/>
                  </a:cubicBezTo>
                  <a:close/>
                  <a:moveTo>
                    <a:pt x="56" y="50"/>
                  </a:moveTo>
                  <a:cubicBezTo>
                    <a:pt x="56" y="29"/>
                    <a:pt x="74" y="11"/>
                    <a:pt x="95" y="11"/>
                  </a:cubicBezTo>
                  <a:cubicBezTo>
                    <a:pt x="162" y="11"/>
                    <a:pt x="162" y="11"/>
                    <a:pt x="162" y="11"/>
                  </a:cubicBezTo>
                  <a:cubicBezTo>
                    <a:pt x="183" y="11"/>
                    <a:pt x="200" y="29"/>
                    <a:pt x="200" y="50"/>
                  </a:cubicBezTo>
                  <a:cubicBezTo>
                    <a:pt x="200" y="71"/>
                    <a:pt x="183" y="88"/>
                    <a:pt x="162" y="88"/>
                  </a:cubicBezTo>
                  <a:cubicBezTo>
                    <a:pt x="95" y="88"/>
                    <a:pt x="95" y="88"/>
                    <a:pt x="95" y="88"/>
                  </a:cubicBezTo>
                  <a:cubicBezTo>
                    <a:pt x="74" y="88"/>
                    <a:pt x="56" y="71"/>
                    <a:pt x="56" y="50"/>
                  </a:cubicBezTo>
                  <a:close/>
                  <a:moveTo>
                    <a:pt x="189" y="300"/>
                  </a:moveTo>
                  <a:cubicBezTo>
                    <a:pt x="183" y="300"/>
                    <a:pt x="179" y="296"/>
                    <a:pt x="179" y="290"/>
                  </a:cubicBezTo>
                  <a:cubicBezTo>
                    <a:pt x="179" y="285"/>
                    <a:pt x="183" y="281"/>
                    <a:pt x="189" y="281"/>
                  </a:cubicBezTo>
                  <a:cubicBezTo>
                    <a:pt x="194" y="281"/>
                    <a:pt x="199" y="285"/>
                    <a:pt x="199" y="290"/>
                  </a:cubicBezTo>
                  <a:cubicBezTo>
                    <a:pt x="199" y="296"/>
                    <a:pt x="194" y="300"/>
                    <a:pt x="189" y="300"/>
                  </a:cubicBezTo>
                  <a:close/>
                  <a:moveTo>
                    <a:pt x="207" y="260"/>
                  </a:moveTo>
                  <a:cubicBezTo>
                    <a:pt x="207" y="264"/>
                    <a:pt x="203" y="268"/>
                    <a:pt x="198" y="268"/>
                  </a:cubicBezTo>
                  <a:cubicBezTo>
                    <a:pt x="58" y="268"/>
                    <a:pt x="58" y="268"/>
                    <a:pt x="58" y="268"/>
                  </a:cubicBezTo>
                  <a:cubicBezTo>
                    <a:pt x="53" y="268"/>
                    <a:pt x="49" y="264"/>
                    <a:pt x="49" y="260"/>
                  </a:cubicBezTo>
                  <a:cubicBezTo>
                    <a:pt x="49" y="255"/>
                    <a:pt x="53" y="251"/>
                    <a:pt x="58" y="251"/>
                  </a:cubicBezTo>
                  <a:cubicBezTo>
                    <a:pt x="198" y="251"/>
                    <a:pt x="198" y="251"/>
                    <a:pt x="198" y="251"/>
                  </a:cubicBezTo>
                  <a:cubicBezTo>
                    <a:pt x="203" y="251"/>
                    <a:pt x="207" y="255"/>
                    <a:pt x="207" y="260"/>
                  </a:cubicBezTo>
                  <a:close/>
                  <a:moveTo>
                    <a:pt x="136" y="241"/>
                  </a:moveTo>
                  <a:cubicBezTo>
                    <a:pt x="121" y="241"/>
                    <a:pt x="121" y="241"/>
                    <a:pt x="121" y="241"/>
                  </a:cubicBezTo>
                  <a:cubicBezTo>
                    <a:pt x="121" y="165"/>
                    <a:pt x="121" y="165"/>
                    <a:pt x="121" y="165"/>
                  </a:cubicBezTo>
                  <a:cubicBezTo>
                    <a:pt x="136" y="165"/>
                    <a:pt x="136" y="165"/>
                    <a:pt x="136" y="165"/>
                  </a:cubicBezTo>
                  <a:lnTo>
                    <a:pt x="136" y="241"/>
                  </a:lnTo>
                  <a:close/>
                  <a:moveTo>
                    <a:pt x="201" y="153"/>
                  </a:moveTo>
                  <a:cubicBezTo>
                    <a:pt x="61" y="153"/>
                    <a:pt x="61" y="153"/>
                    <a:pt x="61" y="153"/>
                  </a:cubicBezTo>
                  <a:cubicBezTo>
                    <a:pt x="61" y="138"/>
                    <a:pt x="61" y="138"/>
                    <a:pt x="61" y="138"/>
                  </a:cubicBezTo>
                  <a:cubicBezTo>
                    <a:pt x="201" y="138"/>
                    <a:pt x="201" y="138"/>
                    <a:pt x="201" y="138"/>
                  </a:cubicBezTo>
                  <a:lnTo>
                    <a:pt x="201" y="153"/>
                  </a:lnTo>
                  <a:close/>
                  <a:moveTo>
                    <a:pt x="237" y="112"/>
                  </a:moveTo>
                  <a:cubicBezTo>
                    <a:pt x="231" y="112"/>
                    <a:pt x="226" y="107"/>
                    <a:pt x="226" y="101"/>
                  </a:cubicBezTo>
                  <a:cubicBezTo>
                    <a:pt x="226" y="95"/>
                    <a:pt x="231" y="90"/>
                    <a:pt x="237" y="90"/>
                  </a:cubicBezTo>
                  <a:cubicBezTo>
                    <a:pt x="243" y="90"/>
                    <a:pt x="247" y="95"/>
                    <a:pt x="247" y="101"/>
                  </a:cubicBezTo>
                  <a:cubicBezTo>
                    <a:pt x="247" y="107"/>
                    <a:pt x="243" y="112"/>
                    <a:pt x="237" y="11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grpSp>
          <p:nvGrpSpPr>
            <p:cNvPr id="36" name="Group 37">
              <a:extLst>
                <a:ext uri="{FF2B5EF4-FFF2-40B4-BE49-F238E27FC236}">
                  <a16:creationId xmlns:a16="http://schemas.microsoft.com/office/drawing/2014/main" id="{E0FDB01B-B230-4DC5-8C6D-58AE5923F31D}"/>
                </a:ext>
              </a:extLst>
            </p:cNvPr>
            <p:cNvGrpSpPr/>
            <p:nvPr/>
          </p:nvGrpSpPr>
          <p:grpSpPr>
            <a:xfrm>
              <a:off x="3028393" y="3565949"/>
              <a:ext cx="598488" cy="277813"/>
              <a:chOff x="3917950" y="2146300"/>
              <a:chExt cx="598488" cy="277813"/>
            </a:xfrm>
            <a:solidFill>
              <a:schemeClr val="accent2"/>
            </a:solidFill>
          </p:grpSpPr>
          <p:sp>
            <p:nvSpPr>
              <p:cNvPr id="48" name="Freeform 155">
                <a:extLst>
                  <a:ext uri="{FF2B5EF4-FFF2-40B4-BE49-F238E27FC236}">
                    <a16:creationId xmlns:a16="http://schemas.microsoft.com/office/drawing/2014/main" id="{FC5756D6-6501-42D6-86A2-FB3860822F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17950" y="2146300"/>
                <a:ext cx="598488" cy="277813"/>
              </a:xfrm>
              <a:custGeom>
                <a:avLst/>
                <a:gdLst>
                  <a:gd name="T0" fmla="*/ 306 w 317"/>
                  <a:gd name="T1" fmla="*/ 49 h 147"/>
                  <a:gd name="T2" fmla="*/ 302 w 317"/>
                  <a:gd name="T3" fmla="*/ 50 h 147"/>
                  <a:gd name="T4" fmla="*/ 302 w 317"/>
                  <a:gd name="T5" fmla="*/ 44 h 147"/>
                  <a:gd name="T6" fmla="*/ 259 w 317"/>
                  <a:gd name="T7" fmla="*/ 1 h 147"/>
                  <a:gd name="T8" fmla="*/ 44 w 317"/>
                  <a:gd name="T9" fmla="*/ 0 h 147"/>
                  <a:gd name="T10" fmla="*/ 1 w 317"/>
                  <a:gd name="T11" fmla="*/ 43 h 147"/>
                  <a:gd name="T12" fmla="*/ 0 w 317"/>
                  <a:gd name="T13" fmla="*/ 104 h 147"/>
                  <a:gd name="T14" fmla="*/ 43 w 317"/>
                  <a:gd name="T15" fmla="*/ 147 h 147"/>
                  <a:gd name="T16" fmla="*/ 259 w 317"/>
                  <a:gd name="T17" fmla="*/ 147 h 147"/>
                  <a:gd name="T18" fmla="*/ 302 w 317"/>
                  <a:gd name="T19" fmla="*/ 104 h 147"/>
                  <a:gd name="T20" fmla="*/ 302 w 317"/>
                  <a:gd name="T21" fmla="*/ 99 h 147"/>
                  <a:gd name="T22" fmla="*/ 305 w 317"/>
                  <a:gd name="T23" fmla="*/ 99 h 147"/>
                  <a:gd name="T24" fmla="*/ 317 w 317"/>
                  <a:gd name="T25" fmla="*/ 89 h 147"/>
                  <a:gd name="T26" fmla="*/ 317 w 317"/>
                  <a:gd name="T27" fmla="*/ 59 h 147"/>
                  <a:gd name="T28" fmla="*/ 306 w 317"/>
                  <a:gd name="T29" fmla="*/ 49 h 147"/>
                  <a:gd name="T30" fmla="*/ 291 w 317"/>
                  <a:gd name="T31" fmla="*/ 104 h 147"/>
                  <a:gd name="T32" fmla="*/ 259 w 317"/>
                  <a:gd name="T33" fmla="*/ 136 h 147"/>
                  <a:gd name="T34" fmla="*/ 43 w 317"/>
                  <a:gd name="T35" fmla="*/ 135 h 147"/>
                  <a:gd name="T36" fmla="*/ 12 w 317"/>
                  <a:gd name="T37" fmla="*/ 104 h 147"/>
                  <a:gd name="T38" fmla="*/ 12 w 317"/>
                  <a:gd name="T39" fmla="*/ 43 h 147"/>
                  <a:gd name="T40" fmla="*/ 44 w 317"/>
                  <a:gd name="T41" fmla="*/ 12 h 147"/>
                  <a:gd name="T42" fmla="*/ 259 w 317"/>
                  <a:gd name="T43" fmla="*/ 12 h 147"/>
                  <a:gd name="T44" fmla="*/ 291 w 317"/>
                  <a:gd name="T45" fmla="*/ 44 h 147"/>
                  <a:gd name="T46" fmla="*/ 291 w 317"/>
                  <a:gd name="T47" fmla="*/ 10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7" h="147">
                    <a:moveTo>
                      <a:pt x="306" y="49"/>
                    </a:moveTo>
                    <a:cubicBezTo>
                      <a:pt x="304" y="49"/>
                      <a:pt x="303" y="49"/>
                      <a:pt x="302" y="50"/>
                    </a:cubicBezTo>
                    <a:cubicBezTo>
                      <a:pt x="302" y="44"/>
                      <a:pt x="302" y="44"/>
                      <a:pt x="302" y="44"/>
                    </a:cubicBezTo>
                    <a:cubicBezTo>
                      <a:pt x="302" y="20"/>
                      <a:pt x="283" y="1"/>
                      <a:pt x="259" y="1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20" y="0"/>
                      <a:pt x="1" y="19"/>
                      <a:pt x="1" y="43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0" y="128"/>
                      <a:pt x="20" y="147"/>
                      <a:pt x="43" y="147"/>
                    </a:cubicBezTo>
                    <a:cubicBezTo>
                      <a:pt x="259" y="147"/>
                      <a:pt x="259" y="147"/>
                      <a:pt x="259" y="147"/>
                    </a:cubicBezTo>
                    <a:cubicBezTo>
                      <a:pt x="283" y="147"/>
                      <a:pt x="302" y="128"/>
                      <a:pt x="302" y="104"/>
                    </a:cubicBezTo>
                    <a:cubicBezTo>
                      <a:pt x="302" y="99"/>
                      <a:pt x="302" y="99"/>
                      <a:pt x="302" y="99"/>
                    </a:cubicBezTo>
                    <a:cubicBezTo>
                      <a:pt x="303" y="99"/>
                      <a:pt x="304" y="99"/>
                      <a:pt x="305" y="99"/>
                    </a:cubicBezTo>
                    <a:cubicBezTo>
                      <a:pt x="312" y="99"/>
                      <a:pt x="317" y="95"/>
                      <a:pt x="317" y="89"/>
                    </a:cubicBezTo>
                    <a:cubicBezTo>
                      <a:pt x="317" y="59"/>
                      <a:pt x="317" y="59"/>
                      <a:pt x="317" y="59"/>
                    </a:cubicBezTo>
                    <a:cubicBezTo>
                      <a:pt x="317" y="54"/>
                      <a:pt x="312" y="49"/>
                      <a:pt x="306" y="49"/>
                    </a:cubicBezTo>
                    <a:close/>
                    <a:moveTo>
                      <a:pt x="291" y="104"/>
                    </a:moveTo>
                    <a:cubicBezTo>
                      <a:pt x="291" y="122"/>
                      <a:pt x="276" y="136"/>
                      <a:pt x="259" y="136"/>
                    </a:cubicBezTo>
                    <a:cubicBezTo>
                      <a:pt x="43" y="135"/>
                      <a:pt x="43" y="135"/>
                      <a:pt x="43" y="135"/>
                    </a:cubicBezTo>
                    <a:cubicBezTo>
                      <a:pt x="26" y="135"/>
                      <a:pt x="12" y="121"/>
                      <a:pt x="12" y="104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26"/>
                      <a:pt x="26" y="12"/>
                      <a:pt x="44" y="12"/>
                    </a:cubicBezTo>
                    <a:cubicBezTo>
                      <a:pt x="259" y="12"/>
                      <a:pt x="259" y="12"/>
                      <a:pt x="259" y="12"/>
                    </a:cubicBezTo>
                    <a:cubicBezTo>
                      <a:pt x="277" y="12"/>
                      <a:pt x="291" y="26"/>
                      <a:pt x="291" y="44"/>
                    </a:cubicBezTo>
                    <a:lnTo>
                      <a:pt x="291" y="1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49" name="Rectangle 156">
                <a:extLst>
                  <a:ext uri="{FF2B5EF4-FFF2-40B4-BE49-F238E27FC236}">
                    <a16:creationId xmlns:a16="http://schemas.microsoft.com/office/drawing/2014/main" id="{59F4A33A-3F83-4FF9-9A62-33040176C6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9550" y="2182813"/>
                <a:ext cx="47625" cy="2063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50" name="Rectangle 157">
                <a:extLst>
                  <a:ext uri="{FF2B5EF4-FFF2-40B4-BE49-F238E27FC236}">
                    <a16:creationId xmlns:a16="http://schemas.microsoft.com/office/drawing/2014/main" id="{1FC5FCA5-C90A-410F-ADB8-557F10E33A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4638" y="2182813"/>
                <a:ext cx="47625" cy="2063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51" name="Freeform 158">
                <a:extLst>
                  <a:ext uri="{FF2B5EF4-FFF2-40B4-BE49-F238E27FC236}">
                    <a16:creationId xmlns:a16="http://schemas.microsoft.com/office/drawing/2014/main" id="{1A2E7E79-85F8-46A2-A463-D38EDC4B3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4463" y="2182813"/>
                <a:ext cx="47625" cy="206375"/>
              </a:xfrm>
              <a:custGeom>
                <a:avLst/>
                <a:gdLst>
                  <a:gd name="T0" fmla="*/ 0 w 25"/>
                  <a:gd name="T1" fmla="*/ 22 h 109"/>
                  <a:gd name="T2" fmla="*/ 0 w 25"/>
                  <a:gd name="T3" fmla="*/ 91 h 109"/>
                  <a:gd name="T4" fmla="*/ 15 w 25"/>
                  <a:gd name="T5" fmla="*/ 109 h 109"/>
                  <a:gd name="T6" fmla="*/ 25 w 25"/>
                  <a:gd name="T7" fmla="*/ 109 h 109"/>
                  <a:gd name="T8" fmla="*/ 25 w 25"/>
                  <a:gd name="T9" fmla="*/ 0 h 109"/>
                  <a:gd name="T10" fmla="*/ 17 w 25"/>
                  <a:gd name="T11" fmla="*/ 0 h 109"/>
                  <a:gd name="T12" fmla="*/ 0 w 25"/>
                  <a:gd name="T13" fmla="*/ 22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109">
                    <a:moveTo>
                      <a:pt x="0" y="22"/>
                    </a:moveTo>
                    <a:cubicBezTo>
                      <a:pt x="0" y="91"/>
                      <a:pt x="0" y="91"/>
                      <a:pt x="0" y="91"/>
                    </a:cubicBezTo>
                    <a:cubicBezTo>
                      <a:pt x="2" y="97"/>
                      <a:pt x="6" y="104"/>
                      <a:pt x="15" y="109"/>
                    </a:cubicBezTo>
                    <a:cubicBezTo>
                      <a:pt x="25" y="109"/>
                      <a:pt x="25" y="109"/>
                      <a:pt x="25" y="109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2" y="2"/>
                      <a:pt x="3" y="7"/>
                      <a:pt x="0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</p:grpSp>
        <p:sp>
          <p:nvSpPr>
            <p:cNvPr id="37" name="Freeform 107">
              <a:extLst>
                <a:ext uri="{FF2B5EF4-FFF2-40B4-BE49-F238E27FC236}">
                  <a16:creationId xmlns:a16="http://schemas.microsoft.com/office/drawing/2014/main" id="{CA12C6F3-32E2-4DF9-B2F1-6082BF31ED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9313" y="4422667"/>
              <a:ext cx="474863" cy="549361"/>
            </a:xfrm>
            <a:custGeom>
              <a:avLst/>
              <a:gdLst>
                <a:gd name="T0" fmla="*/ 251 w 252"/>
                <a:gd name="T1" fmla="*/ 83 h 291"/>
                <a:gd name="T2" fmla="*/ 248 w 252"/>
                <a:gd name="T3" fmla="*/ 80 h 291"/>
                <a:gd name="T4" fmla="*/ 142 w 252"/>
                <a:gd name="T5" fmla="*/ 34 h 291"/>
                <a:gd name="T6" fmla="*/ 141 w 252"/>
                <a:gd name="T7" fmla="*/ 34 h 291"/>
                <a:gd name="T8" fmla="*/ 72 w 252"/>
                <a:gd name="T9" fmla="*/ 0 h 291"/>
                <a:gd name="T10" fmla="*/ 66 w 252"/>
                <a:gd name="T11" fmla="*/ 1 h 291"/>
                <a:gd name="T12" fmla="*/ 20 w 252"/>
                <a:gd name="T13" fmla="*/ 41 h 291"/>
                <a:gd name="T14" fmla="*/ 34 w 252"/>
                <a:gd name="T15" fmla="*/ 237 h 291"/>
                <a:gd name="T16" fmla="*/ 20 w 252"/>
                <a:gd name="T17" fmla="*/ 262 h 291"/>
                <a:gd name="T18" fmla="*/ 49 w 252"/>
                <a:gd name="T19" fmla="*/ 291 h 291"/>
                <a:gd name="T20" fmla="*/ 132 w 252"/>
                <a:gd name="T21" fmla="*/ 291 h 291"/>
                <a:gd name="T22" fmla="*/ 161 w 252"/>
                <a:gd name="T23" fmla="*/ 262 h 291"/>
                <a:gd name="T24" fmla="*/ 132 w 252"/>
                <a:gd name="T25" fmla="*/ 233 h 291"/>
                <a:gd name="T26" fmla="*/ 123 w 252"/>
                <a:gd name="T27" fmla="*/ 233 h 291"/>
                <a:gd name="T28" fmla="*/ 123 w 252"/>
                <a:gd name="T29" fmla="*/ 229 h 291"/>
                <a:gd name="T30" fmla="*/ 112 w 252"/>
                <a:gd name="T31" fmla="*/ 218 h 291"/>
                <a:gd name="T32" fmla="*/ 104 w 252"/>
                <a:gd name="T33" fmla="*/ 218 h 291"/>
                <a:gd name="T34" fmla="*/ 93 w 252"/>
                <a:gd name="T35" fmla="*/ 229 h 291"/>
                <a:gd name="T36" fmla="*/ 94 w 252"/>
                <a:gd name="T37" fmla="*/ 233 h 291"/>
                <a:gd name="T38" fmla="*/ 74 w 252"/>
                <a:gd name="T39" fmla="*/ 233 h 291"/>
                <a:gd name="T40" fmla="*/ 56 w 252"/>
                <a:gd name="T41" fmla="*/ 56 h 291"/>
                <a:gd name="T42" fmla="*/ 71 w 252"/>
                <a:gd name="T43" fmla="*/ 39 h 291"/>
                <a:gd name="T44" fmla="*/ 73 w 252"/>
                <a:gd name="T45" fmla="*/ 39 h 291"/>
                <a:gd name="T46" fmla="*/ 118 w 252"/>
                <a:gd name="T47" fmla="*/ 66 h 291"/>
                <a:gd name="T48" fmla="*/ 118 w 252"/>
                <a:gd name="T49" fmla="*/ 67 h 291"/>
                <a:gd name="T50" fmla="*/ 117 w 252"/>
                <a:gd name="T51" fmla="*/ 72 h 291"/>
                <a:gd name="T52" fmla="*/ 149 w 252"/>
                <a:gd name="T53" fmla="*/ 159 h 291"/>
                <a:gd name="T54" fmla="*/ 155 w 252"/>
                <a:gd name="T55" fmla="*/ 163 h 291"/>
                <a:gd name="T56" fmla="*/ 155 w 252"/>
                <a:gd name="T57" fmla="*/ 163 h 291"/>
                <a:gd name="T58" fmla="*/ 189 w 252"/>
                <a:gd name="T59" fmla="*/ 153 h 291"/>
                <a:gd name="T60" fmla="*/ 226 w 252"/>
                <a:gd name="T61" fmla="*/ 149 h 291"/>
                <a:gd name="T62" fmla="*/ 231 w 252"/>
                <a:gd name="T63" fmla="*/ 116 h 291"/>
                <a:gd name="T64" fmla="*/ 230 w 252"/>
                <a:gd name="T65" fmla="*/ 116 h 291"/>
                <a:gd name="T66" fmla="*/ 251 w 252"/>
                <a:gd name="T67" fmla="*/ 88 h 291"/>
                <a:gd name="T68" fmla="*/ 251 w 252"/>
                <a:gd name="T69" fmla="*/ 83 h 291"/>
                <a:gd name="T70" fmla="*/ 150 w 252"/>
                <a:gd name="T71" fmla="*/ 262 h 291"/>
                <a:gd name="T72" fmla="*/ 132 w 252"/>
                <a:gd name="T73" fmla="*/ 280 h 291"/>
                <a:gd name="T74" fmla="*/ 49 w 252"/>
                <a:gd name="T75" fmla="*/ 280 h 291"/>
                <a:gd name="T76" fmla="*/ 32 w 252"/>
                <a:gd name="T77" fmla="*/ 262 h 291"/>
                <a:gd name="T78" fmla="*/ 49 w 252"/>
                <a:gd name="T79" fmla="*/ 245 h 291"/>
                <a:gd name="T80" fmla="*/ 132 w 252"/>
                <a:gd name="T81" fmla="*/ 245 h 291"/>
                <a:gd name="T82" fmla="*/ 150 w 252"/>
                <a:gd name="T83" fmla="*/ 262 h 291"/>
                <a:gd name="T84" fmla="*/ 73 w 252"/>
                <a:gd name="T85" fmla="*/ 28 h 291"/>
                <a:gd name="T86" fmla="*/ 69 w 252"/>
                <a:gd name="T87" fmla="*/ 28 h 291"/>
                <a:gd name="T88" fmla="*/ 46 w 252"/>
                <a:gd name="T89" fmla="*/ 52 h 291"/>
                <a:gd name="T90" fmla="*/ 45 w 252"/>
                <a:gd name="T91" fmla="*/ 52 h 291"/>
                <a:gd name="T92" fmla="*/ 62 w 252"/>
                <a:gd name="T93" fmla="*/ 233 h 291"/>
                <a:gd name="T94" fmla="*/ 49 w 252"/>
                <a:gd name="T95" fmla="*/ 233 h 291"/>
                <a:gd name="T96" fmla="*/ 45 w 252"/>
                <a:gd name="T97" fmla="*/ 233 h 291"/>
                <a:gd name="T98" fmla="*/ 31 w 252"/>
                <a:gd name="T99" fmla="*/ 46 h 291"/>
                <a:gd name="T100" fmla="*/ 67 w 252"/>
                <a:gd name="T101" fmla="*/ 12 h 291"/>
                <a:gd name="T102" fmla="*/ 72 w 252"/>
                <a:gd name="T103" fmla="*/ 12 h 291"/>
                <a:gd name="T104" fmla="*/ 132 w 252"/>
                <a:gd name="T105" fmla="*/ 41 h 291"/>
                <a:gd name="T106" fmla="*/ 124 w 252"/>
                <a:gd name="T107" fmla="*/ 55 h 291"/>
                <a:gd name="T108" fmla="*/ 73 w 252"/>
                <a:gd name="T109" fmla="*/ 28 h 291"/>
                <a:gd name="T110" fmla="*/ 159 w 252"/>
                <a:gd name="T111" fmla="*/ 151 h 291"/>
                <a:gd name="T112" fmla="*/ 129 w 252"/>
                <a:gd name="T113" fmla="*/ 70 h 291"/>
                <a:gd name="T114" fmla="*/ 142 w 252"/>
                <a:gd name="T115" fmla="*/ 46 h 291"/>
                <a:gd name="T116" fmla="*/ 237 w 252"/>
                <a:gd name="T117" fmla="*/ 88 h 291"/>
                <a:gd name="T118" fmla="*/ 159 w 252"/>
                <a:gd name="T119" fmla="*/ 15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2" h="291">
                  <a:moveTo>
                    <a:pt x="251" y="83"/>
                  </a:moveTo>
                  <a:cubicBezTo>
                    <a:pt x="251" y="82"/>
                    <a:pt x="250" y="80"/>
                    <a:pt x="248" y="80"/>
                  </a:cubicBezTo>
                  <a:cubicBezTo>
                    <a:pt x="142" y="34"/>
                    <a:pt x="142" y="34"/>
                    <a:pt x="142" y="34"/>
                  </a:cubicBezTo>
                  <a:cubicBezTo>
                    <a:pt x="142" y="34"/>
                    <a:pt x="142" y="34"/>
                    <a:pt x="141" y="34"/>
                  </a:cubicBezTo>
                  <a:cubicBezTo>
                    <a:pt x="121" y="16"/>
                    <a:pt x="97" y="0"/>
                    <a:pt x="72" y="0"/>
                  </a:cubicBezTo>
                  <a:cubicBezTo>
                    <a:pt x="70" y="0"/>
                    <a:pt x="68" y="0"/>
                    <a:pt x="66" y="1"/>
                  </a:cubicBezTo>
                  <a:cubicBezTo>
                    <a:pt x="52" y="2"/>
                    <a:pt x="32" y="11"/>
                    <a:pt x="20" y="41"/>
                  </a:cubicBezTo>
                  <a:cubicBezTo>
                    <a:pt x="18" y="47"/>
                    <a:pt x="0" y="97"/>
                    <a:pt x="34" y="237"/>
                  </a:cubicBezTo>
                  <a:cubicBezTo>
                    <a:pt x="26" y="242"/>
                    <a:pt x="20" y="252"/>
                    <a:pt x="20" y="262"/>
                  </a:cubicBezTo>
                  <a:cubicBezTo>
                    <a:pt x="20" y="278"/>
                    <a:pt x="33" y="291"/>
                    <a:pt x="49" y="291"/>
                  </a:cubicBezTo>
                  <a:cubicBezTo>
                    <a:pt x="132" y="291"/>
                    <a:pt x="132" y="291"/>
                    <a:pt x="132" y="291"/>
                  </a:cubicBezTo>
                  <a:cubicBezTo>
                    <a:pt x="148" y="291"/>
                    <a:pt x="161" y="278"/>
                    <a:pt x="161" y="262"/>
                  </a:cubicBezTo>
                  <a:cubicBezTo>
                    <a:pt x="161" y="246"/>
                    <a:pt x="148" y="233"/>
                    <a:pt x="132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2"/>
                    <a:pt x="123" y="231"/>
                    <a:pt x="123" y="229"/>
                  </a:cubicBezTo>
                  <a:cubicBezTo>
                    <a:pt x="123" y="223"/>
                    <a:pt x="118" y="218"/>
                    <a:pt x="112" y="218"/>
                  </a:cubicBezTo>
                  <a:cubicBezTo>
                    <a:pt x="104" y="218"/>
                    <a:pt x="104" y="218"/>
                    <a:pt x="104" y="218"/>
                  </a:cubicBezTo>
                  <a:cubicBezTo>
                    <a:pt x="98" y="218"/>
                    <a:pt x="93" y="223"/>
                    <a:pt x="93" y="229"/>
                  </a:cubicBezTo>
                  <a:cubicBezTo>
                    <a:pt x="93" y="231"/>
                    <a:pt x="93" y="232"/>
                    <a:pt x="94" y="233"/>
                  </a:cubicBezTo>
                  <a:cubicBezTo>
                    <a:pt x="74" y="233"/>
                    <a:pt x="74" y="233"/>
                    <a:pt x="74" y="233"/>
                  </a:cubicBezTo>
                  <a:cubicBezTo>
                    <a:pt x="42" y="106"/>
                    <a:pt x="56" y="58"/>
                    <a:pt x="56" y="56"/>
                  </a:cubicBezTo>
                  <a:cubicBezTo>
                    <a:pt x="61" y="46"/>
                    <a:pt x="65" y="40"/>
                    <a:pt x="71" y="39"/>
                  </a:cubicBezTo>
                  <a:cubicBezTo>
                    <a:pt x="71" y="39"/>
                    <a:pt x="72" y="39"/>
                    <a:pt x="73" y="39"/>
                  </a:cubicBezTo>
                  <a:cubicBezTo>
                    <a:pt x="85" y="39"/>
                    <a:pt x="102" y="51"/>
                    <a:pt x="118" y="66"/>
                  </a:cubicBezTo>
                  <a:cubicBezTo>
                    <a:pt x="118" y="67"/>
                    <a:pt x="118" y="67"/>
                    <a:pt x="118" y="67"/>
                  </a:cubicBezTo>
                  <a:cubicBezTo>
                    <a:pt x="117" y="68"/>
                    <a:pt x="117" y="70"/>
                    <a:pt x="117" y="72"/>
                  </a:cubicBezTo>
                  <a:cubicBezTo>
                    <a:pt x="149" y="159"/>
                    <a:pt x="149" y="159"/>
                    <a:pt x="149" y="159"/>
                  </a:cubicBezTo>
                  <a:cubicBezTo>
                    <a:pt x="150" y="162"/>
                    <a:pt x="152" y="163"/>
                    <a:pt x="155" y="163"/>
                  </a:cubicBezTo>
                  <a:cubicBezTo>
                    <a:pt x="155" y="163"/>
                    <a:pt x="155" y="163"/>
                    <a:pt x="155" y="163"/>
                  </a:cubicBezTo>
                  <a:cubicBezTo>
                    <a:pt x="167" y="163"/>
                    <a:pt x="179" y="159"/>
                    <a:pt x="189" y="153"/>
                  </a:cubicBezTo>
                  <a:cubicBezTo>
                    <a:pt x="207" y="163"/>
                    <a:pt x="226" y="149"/>
                    <a:pt x="226" y="149"/>
                  </a:cubicBezTo>
                  <a:cubicBezTo>
                    <a:pt x="243" y="136"/>
                    <a:pt x="231" y="116"/>
                    <a:pt x="231" y="116"/>
                  </a:cubicBezTo>
                  <a:cubicBezTo>
                    <a:pt x="231" y="116"/>
                    <a:pt x="231" y="116"/>
                    <a:pt x="230" y="116"/>
                  </a:cubicBezTo>
                  <a:cubicBezTo>
                    <a:pt x="243" y="102"/>
                    <a:pt x="250" y="89"/>
                    <a:pt x="251" y="88"/>
                  </a:cubicBezTo>
                  <a:cubicBezTo>
                    <a:pt x="252" y="86"/>
                    <a:pt x="252" y="85"/>
                    <a:pt x="251" y="83"/>
                  </a:cubicBezTo>
                  <a:close/>
                  <a:moveTo>
                    <a:pt x="150" y="262"/>
                  </a:moveTo>
                  <a:cubicBezTo>
                    <a:pt x="150" y="272"/>
                    <a:pt x="142" y="280"/>
                    <a:pt x="132" y="280"/>
                  </a:cubicBezTo>
                  <a:cubicBezTo>
                    <a:pt x="49" y="280"/>
                    <a:pt x="49" y="280"/>
                    <a:pt x="49" y="280"/>
                  </a:cubicBezTo>
                  <a:cubicBezTo>
                    <a:pt x="40" y="280"/>
                    <a:pt x="32" y="272"/>
                    <a:pt x="32" y="262"/>
                  </a:cubicBezTo>
                  <a:cubicBezTo>
                    <a:pt x="32" y="253"/>
                    <a:pt x="40" y="245"/>
                    <a:pt x="49" y="245"/>
                  </a:cubicBezTo>
                  <a:cubicBezTo>
                    <a:pt x="132" y="245"/>
                    <a:pt x="132" y="245"/>
                    <a:pt x="132" y="245"/>
                  </a:cubicBezTo>
                  <a:cubicBezTo>
                    <a:pt x="142" y="245"/>
                    <a:pt x="150" y="253"/>
                    <a:pt x="150" y="262"/>
                  </a:cubicBezTo>
                  <a:close/>
                  <a:moveTo>
                    <a:pt x="73" y="28"/>
                  </a:moveTo>
                  <a:cubicBezTo>
                    <a:pt x="72" y="28"/>
                    <a:pt x="70" y="28"/>
                    <a:pt x="69" y="28"/>
                  </a:cubicBezTo>
                  <a:cubicBezTo>
                    <a:pt x="66" y="28"/>
                    <a:pt x="54" y="30"/>
                    <a:pt x="46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45" y="54"/>
                    <a:pt x="30" y="101"/>
                    <a:pt x="62" y="233"/>
                  </a:cubicBezTo>
                  <a:cubicBezTo>
                    <a:pt x="49" y="233"/>
                    <a:pt x="49" y="233"/>
                    <a:pt x="49" y="233"/>
                  </a:cubicBezTo>
                  <a:cubicBezTo>
                    <a:pt x="48" y="233"/>
                    <a:pt x="46" y="233"/>
                    <a:pt x="45" y="233"/>
                  </a:cubicBezTo>
                  <a:cubicBezTo>
                    <a:pt x="13" y="97"/>
                    <a:pt x="28" y="51"/>
                    <a:pt x="31" y="46"/>
                  </a:cubicBezTo>
                  <a:cubicBezTo>
                    <a:pt x="41" y="20"/>
                    <a:pt x="56" y="13"/>
                    <a:pt x="67" y="12"/>
                  </a:cubicBezTo>
                  <a:cubicBezTo>
                    <a:pt x="69" y="12"/>
                    <a:pt x="71" y="12"/>
                    <a:pt x="72" y="12"/>
                  </a:cubicBezTo>
                  <a:cubicBezTo>
                    <a:pt x="91" y="12"/>
                    <a:pt x="113" y="25"/>
                    <a:pt x="132" y="41"/>
                  </a:cubicBezTo>
                  <a:cubicBezTo>
                    <a:pt x="124" y="55"/>
                    <a:pt x="124" y="55"/>
                    <a:pt x="124" y="55"/>
                  </a:cubicBezTo>
                  <a:cubicBezTo>
                    <a:pt x="107" y="41"/>
                    <a:pt x="88" y="28"/>
                    <a:pt x="73" y="28"/>
                  </a:cubicBezTo>
                  <a:close/>
                  <a:moveTo>
                    <a:pt x="159" y="151"/>
                  </a:moveTo>
                  <a:cubicBezTo>
                    <a:pt x="129" y="70"/>
                    <a:pt x="129" y="70"/>
                    <a:pt x="129" y="70"/>
                  </a:cubicBezTo>
                  <a:cubicBezTo>
                    <a:pt x="142" y="46"/>
                    <a:pt x="142" y="46"/>
                    <a:pt x="142" y="46"/>
                  </a:cubicBezTo>
                  <a:cubicBezTo>
                    <a:pt x="237" y="88"/>
                    <a:pt x="237" y="88"/>
                    <a:pt x="237" y="88"/>
                  </a:cubicBezTo>
                  <a:cubicBezTo>
                    <a:pt x="227" y="103"/>
                    <a:pt x="195" y="148"/>
                    <a:pt x="159" y="15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grpSp>
          <p:nvGrpSpPr>
            <p:cNvPr id="38" name="Group 39">
              <a:extLst>
                <a:ext uri="{FF2B5EF4-FFF2-40B4-BE49-F238E27FC236}">
                  <a16:creationId xmlns:a16="http://schemas.microsoft.com/office/drawing/2014/main" id="{7D8594A6-0AFA-40D2-8319-3BA665FF296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121846" y="5260180"/>
              <a:ext cx="492125" cy="595313"/>
              <a:chOff x="3971925" y="295275"/>
              <a:chExt cx="492125" cy="595313"/>
            </a:xfrm>
          </p:grpSpPr>
          <p:sp>
            <p:nvSpPr>
              <p:cNvPr id="43" name="Freeform 108">
                <a:extLst>
                  <a:ext uri="{FF2B5EF4-FFF2-40B4-BE49-F238E27FC236}">
                    <a16:creationId xmlns:a16="http://schemas.microsoft.com/office/drawing/2014/main" id="{75B9CF39-78BB-47C2-B467-B3114E7EC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3914" y="294506"/>
                <a:ext cx="92114" cy="187354"/>
              </a:xfrm>
              <a:custGeom>
                <a:avLst/>
                <a:gdLst>
                  <a:gd name="T0" fmla="*/ 17 w 48"/>
                  <a:gd name="T1" fmla="*/ 99 h 99"/>
                  <a:gd name="T2" fmla="*/ 24 w 48"/>
                  <a:gd name="T3" fmla="*/ 57 h 99"/>
                  <a:gd name="T4" fmla="*/ 15 w 48"/>
                  <a:gd name="T5" fmla="*/ 0 h 99"/>
                  <a:gd name="T6" fmla="*/ 13 w 48"/>
                  <a:gd name="T7" fmla="*/ 45 h 99"/>
                  <a:gd name="T8" fmla="*/ 3 w 48"/>
                  <a:gd name="T9" fmla="*/ 66 h 99"/>
                  <a:gd name="T10" fmla="*/ 17 w 48"/>
                  <a:gd name="T11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99">
                    <a:moveTo>
                      <a:pt x="17" y="99"/>
                    </a:moveTo>
                    <a:cubicBezTo>
                      <a:pt x="8" y="80"/>
                      <a:pt x="24" y="57"/>
                      <a:pt x="24" y="57"/>
                    </a:cubicBezTo>
                    <a:cubicBezTo>
                      <a:pt x="48" y="25"/>
                      <a:pt x="15" y="0"/>
                      <a:pt x="15" y="0"/>
                    </a:cubicBezTo>
                    <a:cubicBezTo>
                      <a:pt x="26" y="10"/>
                      <a:pt x="21" y="32"/>
                      <a:pt x="13" y="45"/>
                    </a:cubicBezTo>
                    <a:cubicBezTo>
                      <a:pt x="4" y="58"/>
                      <a:pt x="3" y="66"/>
                      <a:pt x="3" y="66"/>
                    </a:cubicBezTo>
                    <a:cubicBezTo>
                      <a:pt x="0" y="89"/>
                      <a:pt x="17" y="99"/>
                      <a:pt x="17" y="99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44" name="Freeform 109">
                <a:extLst>
                  <a:ext uri="{FF2B5EF4-FFF2-40B4-BE49-F238E27FC236}">
                    <a16:creationId xmlns:a16="http://schemas.microsoft.com/office/drawing/2014/main" id="{6265B3D6-37E9-4E5F-B909-C4EF65A5C9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6028" y="358016"/>
                <a:ext cx="52410" cy="104791"/>
              </a:xfrm>
              <a:custGeom>
                <a:avLst/>
                <a:gdLst>
                  <a:gd name="T0" fmla="*/ 10 w 28"/>
                  <a:gd name="T1" fmla="*/ 56 h 56"/>
                  <a:gd name="T2" fmla="*/ 14 w 28"/>
                  <a:gd name="T3" fmla="*/ 32 h 56"/>
                  <a:gd name="T4" fmla="*/ 9 w 28"/>
                  <a:gd name="T5" fmla="*/ 0 h 56"/>
                  <a:gd name="T6" fmla="*/ 8 w 28"/>
                  <a:gd name="T7" fmla="*/ 25 h 56"/>
                  <a:gd name="T8" fmla="*/ 2 w 28"/>
                  <a:gd name="T9" fmla="*/ 37 h 56"/>
                  <a:gd name="T10" fmla="*/ 10 w 28"/>
                  <a:gd name="T11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56">
                    <a:moveTo>
                      <a:pt x="10" y="56"/>
                    </a:moveTo>
                    <a:cubicBezTo>
                      <a:pt x="5" y="45"/>
                      <a:pt x="14" y="32"/>
                      <a:pt x="14" y="32"/>
                    </a:cubicBezTo>
                    <a:cubicBezTo>
                      <a:pt x="28" y="14"/>
                      <a:pt x="9" y="0"/>
                      <a:pt x="9" y="0"/>
                    </a:cubicBezTo>
                    <a:cubicBezTo>
                      <a:pt x="15" y="5"/>
                      <a:pt x="12" y="18"/>
                      <a:pt x="8" y="25"/>
                    </a:cubicBezTo>
                    <a:cubicBezTo>
                      <a:pt x="3" y="33"/>
                      <a:pt x="2" y="37"/>
                      <a:pt x="2" y="37"/>
                    </a:cubicBezTo>
                    <a:cubicBezTo>
                      <a:pt x="0" y="50"/>
                      <a:pt x="10" y="56"/>
                      <a:pt x="10" y="56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45" name="Freeform 110">
                <a:extLst>
                  <a:ext uri="{FF2B5EF4-FFF2-40B4-BE49-F238E27FC236}">
                    <a16:creationId xmlns:a16="http://schemas.microsoft.com/office/drawing/2014/main" id="{F55BE407-7CCB-4691-AA76-10B14BAD0E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1330" y="358016"/>
                <a:ext cx="50821" cy="104791"/>
              </a:xfrm>
              <a:custGeom>
                <a:avLst/>
                <a:gdLst>
                  <a:gd name="T0" fmla="*/ 10 w 27"/>
                  <a:gd name="T1" fmla="*/ 56 h 56"/>
                  <a:gd name="T2" fmla="*/ 14 w 27"/>
                  <a:gd name="T3" fmla="*/ 32 h 56"/>
                  <a:gd name="T4" fmla="*/ 9 w 27"/>
                  <a:gd name="T5" fmla="*/ 0 h 56"/>
                  <a:gd name="T6" fmla="*/ 7 w 27"/>
                  <a:gd name="T7" fmla="*/ 25 h 56"/>
                  <a:gd name="T8" fmla="*/ 2 w 27"/>
                  <a:gd name="T9" fmla="*/ 37 h 56"/>
                  <a:gd name="T10" fmla="*/ 10 w 27"/>
                  <a:gd name="T11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56">
                    <a:moveTo>
                      <a:pt x="10" y="56"/>
                    </a:moveTo>
                    <a:cubicBezTo>
                      <a:pt x="4" y="45"/>
                      <a:pt x="14" y="32"/>
                      <a:pt x="14" y="32"/>
                    </a:cubicBezTo>
                    <a:cubicBezTo>
                      <a:pt x="27" y="14"/>
                      <a:pt x="9" y="0"/>
                      <a:pt x="9" y="0"/>
                    </a:cubicBezTo>
                    <a:cubicBezTo>
                      <a:pt x="15" y="5"/>
                      <a:pt x="12" y="18"/>
                      <a:pt x="7" y="25"/>
                    </a:cubicBezTo>
                    <a:cubicBezTo>
                      <a:pt x="2" y="33"/>
                      <a:pt x="2" y="37"/>
                      <a:pt x="2" y="37"/>
                    </a:cubicBezTo>
                    <a:cubicBezTo>
                      <a:pt x="0" y="50"/>
                      <a:pt x="10" y="56"/>
                      <a:pt x="10" y="56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46" name="Freeform 111">
                <a:extLst>
                  <a:ext uri="{FF2B5EF4-FFF2-40B4-BE49-F238E27FC236}">
                    <a16:creationId xmlns:a16="http://schemas.microsoft.com/office/drawing/2014/main" id="{F4669CBD-F233-42FD-903C-D82EB9CB2F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18142" y="666039"/>
                <a:ext cx="96879" cy="93677"/>
              </a:xfrm>
              <a:custGeom>
                <a:avLst/>
                <a:gdLst>
                  <a:gd name="T0" fmla="*/ 25 w 51"/>
                  <a:gd name="T1" fmla="*/ 0 h 50"/>
                  <a:gd name="T2" fmla="*/ 0 w 51"/>
                  <a:gd name="T3" fmla="*/ 20 h 50"/>
                  <a:gd name="T4" fmla="*/ 0 w 51"/>
                  <a:gd name="T5" fmla="*/ 21 h 50"/>
                  <a:gd name="T6" fmla="*/ 0 w 51"/>
                  <a:gd name="T7" fmla="*/ 29 h 50"/>
                  <a:gd name="T8" fmla="*/ 0 w 51"/>
                  <a:gd name="T9" fmla="*/ 30 h 50"/>
                  <a:gd name="T10" fmla="*/ 25 w 51"/>
                  <a:gd name="T11" fmla="*/ 50 h 50"/>
                  <a:gd name="T12" fmla="*/ 51 w 51"/>
                  <a:gd name="T13" fmla="*/ 25 h 50"/>
                  <a:gd name="T14" fmla="*/ 25 w 51"/>
                  <a:gd name="T15" fmla="*/ 0 h 50"/>
                  <a:gd name="T16" fmla="*/ 25 w 51"/>
                  <a:gd name="T17" fmla="*/ 38 h 50"/>
                  <a:gd name="T18" fmla="*/ 11 w 51"/>
                  <a:gd name="T19" fmla="*/ 28 h 50"/>
                  <a:gd name="T20" fmla="*/ 11 w 51"/>
                  <a:gd name="T21" fmla="*/ 22 h 50"/>
                  <a:gd name="T22" fmla="*/ 25 w 51"/>
                  <a:gd name="T23" fmla="*/ 12 h 50"/>
                  <a:gd name="T24" fmla="*/ 39 w 51"/>
                  <a:gd name="T25" fmla="*/ 25 h 50"/>
                  <a:gd name="T26" fmla="*/ 25 w 51"/>
                  <a:gd name="T27" fmla="*/ 3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" h="50">
                    <a:moveTo>
                      <a:pt x="25" y="0"/>
                    </a:moveTo>
                    <a:cubicBezTo>
                      <a:pt x="13" y="0"/>
                      <a:pt x="3" y="8"/>
                      <a:pt x="0" y="20"/>
                    </a:cubicBezTo>
                    <a:cubicBezTo>
                      <a:pt x="0" y="20"/>
                      <a:pt x="0" y="21"/>
                      <a:pt x="0" y="21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30"/>
                      <a:pt x="0" y="30"/>
                    </a:cubicBezTo>
                    <a:cubicBezTo>
                      <a:pt x="3" y="41"/>
                      <a:pt x="13" y="50"/>
                      <a:pt x="25" y="50"/>
                    </a:cubicBezTo>
                    <a:cubicBezTo>
                      <a:pt x="39" y="50"/>
                      <a:pt x="51" y="39"/>
                      <a:pt x="51" y="25"/>
                    </a:cubicBezTo>
                    <a:cubicBezTo>
                      <a:pt x="51" y="11"/>
                      <a:pt x="39" y="0"/>
                      <a:pt x="25" y="0"/>
                    </a:cubicBezTo>
                    <a:close/>
                    <a:moveTo>
                      <a:pt x="25" y="38"/>
                    </a:moveTo>
                    <a:cubicBezTo>
                      <a:pt x="19" y="38"/>
                      <a:pt x="13" y="34"/>
                      <a:pt x="11" y="28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3" y="16"/>
                      <a:pt x="19" y="12"/>
                      <a:pt x="25" y="12"/>
                    </a:cubicBezTo>
                    <a:cubicBezTo>
                      <a:pt x="33" y="12"/>
                      <a:pt x="39" y="18"/>
                      <a:pt x="39" y="25"/>
                    </a:cubicBezTo>
                    <a:cubicBezTo>
                      <a:pt x="39" y="32"/>
                      <a:pt x="33" y="38"/>
                      <a:pt x="25" y="38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47" name="Freeform 112">
                <a:extLst>
                  <a:ext uri="{FF2B5EF4-FFF2-40B4-BE49-F238E27FC236}">
                    <a16:creationId xmlns:a16="http://schemas.microsoft.com/office/drawing/2014/main" id="{BA8EEC94-9CAB-4CDB-8A2B-E16E490978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71921" y="532668"/>
                <a:ext cx="492333" cy="357243"/>
              </a:xfrm>
              <a:custGeom>
                <a:avLst/>
                <a:gdLst>
                  <a:gd name="T0" fmla="*/ 208 w 260"/>
                  <a:gd name="T1" fmla="*/ 45 h 189"/>
                  <a:gd name="T2" fmla="*/ 194 w 260"/>
                  <a:gd name="T3" fmla="*/ 47 h 189"/>
                  <a:gd name="T4" fmla="*/ 194 w 260"/>
                  <a:gd name="T5" fmla="*/ 6 h 189"/>
                  <a:gd name="T6" fmla="*/ 189 w 260"/>
                  <a:gd name="T7" fmla="*/ 0 h 189"/>
                  <a:gd name="T8" fmla="*/ 6 w 260"/>
                  <a:gd name="T9" fmla="*/ 0 h 189"/>
                  <a:gd name="T10" fmla="*/ 0 w 260"/>
                  <a:gd name="T11" fmla="*/ 6 h 189"/>
                  <a:gd name="T12" fmla="*/ 0 w 260"/>
                  <a:gd name="T13" fmla="*/ 183 h 189"/>
                  <a:gd name="T14" fmla="*/ 6 w 260"/>
                  <a:gd name="T15" fmla="*/ 189 h 189"/>
                  <a:gd name="T16" fmla="*/ 189 w 260"/>
                  <a:gd name="T17" fmla="*/ 189 h 189"/>
                  <a:gd name="T18" fmla="*/ 194 w 260"/>
                  <a:gd name="T19" fmla="*/ 183 h 189"/>
                  <a:gd name="T20" fmla="*/ 194 w 260"/>
                  <a:gd name="T21" fmla="*/ 143 h 189"/>
                  <a:gd name="T22" fmla="*/ 208 w 260"/>
                  <a:gd name="T23" fmla="*/ 145 h 189"/>
                  <a:gd name="T24" fmla="*/ 260 w 260"/>
                  <a:gd name="T25" fmla="*/ 95 h 189"/>
                  <a:gd name="T26" fmla="*/ 208 w 260"/>
                  <a:gd name="T27" fmla="*/ 45 h 189"/>
                  <a:gd name="T28" fmla="*/ 208 w 260"/>
                  <a:gd name="T29" fmla="*/ 133 h 189"/>
                  <a:gd name="T30" fmla="*/ 191 w 260"/>
                  <a:gd name="T31" fmla="*/ 130 h 189"/>
                  <a:gd name="T32" fmla="*/ 186 w 260"/>
                  <a:gd name="T33" fmla="*/ 130 h 189"/>
                  <a:gd name="T34" fmla="*/ 183 w 260"/>
                  <a:gd name="T35" fmla="*/ 135 h 189"/>
                  <a:gd name="T36" fmla="*/ 183 w 260"/>
                  <a:gd name="T37" fmla="*/ 178 h 189"/>
                  <a:gd name="T38" fmla="*/ 12 w 260"/>
                  <a:gd name="T39" fmla="*/ 178 h 189"/>
                  <a:gd name="T40" fmla="*/ 12 w 260"/>
                  <a:gd name="T41" fmla="*/ 12 h 189"/>
                  <a:gd name="T42" fmla="*/ 183 w 260"/>
                  <a:gd name="T43" fmla="*/ 12 h 189"/>
                  <a:gd name="T44" fmla="*/ 183 w 260"/>
                  <a:gd name="T45" fmla="*/ 20 h 189"/>
                  <a:gd name="T46" fmla="*/ 14 w 260"/>
                  <a:gd name="T47" fmla="*/ 20 h 189"/>
                  <a:gd name="T48" fmla="*/ 183 w 260"/>
                  <a:gd name="T49" fmla="*/ 21 h 189"/>
                  <a:gd name="T50" fmla="*/ 183 w 260"/>
                  <a:gd name="T51" fmla="*/ 55 h 189"/>
                  <a:gd name="T52" fmla="*/ 186 w 260"/>
                  <a:gd name="T53" fmla="*/ 60 h 189"/>
                  <a:gd name="T54" fmla="*/ 191 w 260"/>
                  <a:gd name="T55" fmla="*/ 60 h 189"/>
                  <a:gd name="T56" fmla="*/ 208 w 260"/>
                  <a:gd name="T57" fmla="*/ 56 h 189"/>
                  <a:gd name="T58" fmla="*/ 248 w 260"/>
                  <a:gd name="T59" fmla="*/ 95 h 189"/>
                  <a:gd name="T60" fmla="*/ 208 w 260"/>
                  <a:gd name="T61" fmla="*/ 133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60" h="189">
                    <a:moveTo>
                      <a:pt x="208" y="45"/>
                    </a:moveTo>
                    <a:cubicBezTo>
                      <a:pt x="203" y="45"/>
                      <a:pt x="199" y="45"/>
                      <a:pt x="194" y="47"/>
                    </a:cubicBezTo>
                    <a:cubicBezTo>
                      <a:pt x="194" y="6"/>
                      <a:pt x="194" y="6"/>
                      <a:pt x="194" y="6"/>
                    </a:cubicBezTo>
                    <a:cubicBezTo>
                      <a:pt x="194" y="3"/>
                      <a:pt x="192" y="0"/>
                      <a:pt x="18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183"/>
                      <a:pt x="0" y="183"/>
                      <a:pt x="0" y="183"/>
                    </a:cubicBezTo>
                    <a:cubicBezTo>
                      <a:pt x="0" y="187"/>
                      <a:pt x="3" y="189"/>
                      <a:pt x="6" y="189"/>
                    </a:cubicBezTo>
                    <a:cubicBezTo>
                      <a:pt x="189" y="189"/>
                      <a:pt x="189" y="189"/>
                      <a:pt x="189" y="189"/>
                    </a:cubicBezTo>
                    <a:cubicBezTo>
                      <a:pt x="192" y="189"/>
                      <a:pt x="194" y="187"/>
                      <a:pt x="194" y="183"/>
                    </a:cubicBezTo>
                    <a:cubicBezTo>
                      <a:pt x="194" y="143"/>
                      <a:pt x="194" y="143"/>
                      <a:pt x="194" y="143"/>
                    </a:cubicBezTo>
                    <a:cubicBezTo>
                      <a:pt x="199" y="144"/>
                      <a:pt x="203" y="145"/>
                      <a:pt x="208" y="145"/>
                    </a:cubicBezTo>
                    <a:cubicBezTo>
                      <a:pt x="237" y="145"/>
                      <a:pt x="260" y="122"/>
                      <a:pt x="260" y="95"/>
                    </a:cubicBezTo>
                    <a:cubicBezTo>
                      <a:pt x="260" y="67"/>
                      <a:pt x="237" y="45"/>
                      <a:pt x="208" y="45"/>
                    </a:cubicBezTo>
                    <a:close/>
                    <a:moveTo>
                      <a:pt x="208" y="133"/>
                    </a:moveTo>
                    <a:cubicBezTo>
                      <a:pt x="202" y="133"/>
                      <a:pt x="196" y="132"/>
                      <a:pt x="191" y="130"/>
                    </a:cubicBezTo>
                    <a:cubicBezTo>
                      <a:pt x="189" y="129"/>
                      <a:pt x="187" y="129"/>
                      <a:pt x="186" y="130"/>
                    </a:cubicBezTo>
                    <a:cubicBezTo>
                      <a:pt x="184" y="131"/>
                      <a:pt x="183" y="133"/>
                      <a:pt x="183" y="135"/>
                    </a:cubicBezTo>
                    <a:cubicBezTo>
                      <a:pt x="183" y="178"/>
                      <a:pt x="183" y="178"/>
                      <a:pt x="183" y="178"/>
                    </a:cubicBezTo>
                    <a:cubicBezTo>
                      <a:pt x="12" y="178"/>
                      <a:pt x="12" y="178"/>
                      <a:pt x="12" y="178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83" y="12"/>
                      <a:pt x="183" y="12"/>
                      <a:pt x="183" y="12"/>
                    </a:cubicBezTo>
                    <a:cubicBezTo>
                      <a:pt x="183" y="20"/>
                      <a:pt x="183" y="20"/>
                      <a:pt x="183" y="20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4" y="20"/>
                      <a:pt x="95" y="52"/>
                      <a:pt x="183" y="21"/>
                    </a:cubicBezTo>
                    <a:cubicBezTo>
                      <a:pt x="183" y="55"/>
                      <a:pt x="183" y="55"/>
                      <a:pt x="183" y="55"/>
                    </a:cubicBezTo>
                    <a:cubicBezTo>
                      <a:pt x="183" y="57"/>
                      <a:pt x="184" y="59"/>
                      <a:pt x="186" y="60"/>
                    </a:cubicBezTo>
                    <a:cubicBezTo>
                      <a:pt x="187" y="61"/>
                      <a:pt x="189" y="61"/>
                      <a:pt x="191" y="60"/>
                    </a:cubicBezTo>
                    <a:cubicBezTo>
                      <a:pt x="196" y="58"/>
                      <a:pt x="202" y="56"/>
                      <a:pt x="208" y="56"/>
                    </a:cubicBezTo>
                    <a:cubicBezTo>
                      <a:pt x="230" y="56"/>
                      <a:pt x="248" y="74"/>
                      <a:pt x="248" y="95"/>
                    </a:cubicBezTo>
                    <a:cubicBezTo>
                      <a:pt x="248" y="116"/>
                      <a:pt x="230" y="133"/>
                      <a:pt x="208" y="133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</p:grpSp>
        <p:sp>
          <p:nvSpPr>
            <p:cNvPr id="39" name="Content Placeholder 2">
              <a:extLst>
                <a:ext uri="{FF2B5EF4-FFF2-40B4-BE49-F238E27FC236}">
                  <a16:creationId xmlns:a16="http://schemas.microsoft.com/office/drawing/2014/main" id="{B4ACB853-E139-4279-9F50-FECA063417E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73348" y="2401463"/>
              <a:ext cx="1931813" cy="849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chemeClr val="tx2"/>
                  </a:solidFill>
                </a:rPr>
                <a:t>Clever &amp; Intellegence</a:t>
              </a:r>
              <a:r>
                <a:rPr lang="en-US" altLang="zh-CN" sz="1400" b="1">
                  <a:solidFill>
                    <a:schemeClr val="tx2"/>
                  </a:solidFill>
                </a:rPr>
                <a:t/>
              </a:r>
              <a:br>
                <a:rPr lang="en-US" altLang="zh-CN" sz="1400" b="1">
                  <a:solidFill>
                    <a:schemeClr val="tx2"/>
                  </a:solidFill>
                </a:rPr>
              </a:br>
              <a:r>
                <a:rPr lang="en-US" altLang="zh-CN" sz="1100">
                  <a:solidFill>
                    <a:schemeClr val="tx2"/>
                  </a:solidFill>
                </a:rPr>
                <a:t>Lorem ipsum dolor sit amet, consectetur adipiscing elit. </a:t>
              </a:r>
            </a:p>
          </p:txBody>
        </p:sp>
        <p:sp>
          <p:nvSpPr>
            <p:cNvPr id="40" name="Content Placeholder 2">
              <a:extLst>
                <a:ext uri="{FF2B5EF4-FFF2-40B4-BE49-F238E27FC236}">
                  <a16:creationId xmlns:a16="http://schemas.microsoft.com/office/drawing/2014/main" id="{DA7324A3-309F-497D-A027-4A429FFB890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73348" y="3393719"/>
              <a:ext cx="1931813" cy="849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chemeClr val="tx2"/>
                  </a:solidFill>
                </a:rPr>
                <a:t>Clever &amp; Intellegence</a:t>
              </a:r>
              <a:r>
                <a:rPr lang="en-US" altLang="zh-CN" sz="1400" b="1">
                  <a:solidFill>
                    <a:schemeClr val="tx2"/>
                  </a:solidFill>
                </a:rPr>
                <a:t/>
              </a:r>
              <a:br>
                <a:rPr lang="en-US" altLang="zh-CN" sz="1400" b="1">
                  <a:solidFill>
                    <a:schemeClr val="tx2"/>
                  </a:solidFill>
                </a:rPr>
              </a:br>
              <a:r>
                <a:rPr lang="en-US" altLang="zh-CN" sz="1100">
                  <a:solidFill>
                    <a:schemeClr val="tx2"/>
                  </a:solidFill>
                </a:rPr>
                <a:t>Lorem ipsum dolor sit amet, consectetur adipiscing elit. </a:t>
              </a:r>
            </a:p>
          </p:txBody>
        </p:sp>
        <p:sp>
          <p:nvSpPr>
            <p:cNvPr id="41" name="Content Placeholder 2">
              <a:extLst>
                <a:ext uri="{FF2B5EF4-FFF2-40B4-BE49-F238E27FC236}">
                  <a16:creationId xmlns:a16="http://schemas.microsoft.com/office/drawing/2014/main" id="{122F7C7A-26F7-48AD-A481-4065238342D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71402" y="4383802"/>
              <a:ext cx="1931813" cy="849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chemeClr val="tx2"/>
                  </a:solidFill>
                </a:rPr>
                <a:t>Clever &amp; Intellegence</a:t>
              </a:r>
              <a:r>
                <a:rPr lang="en-US" altLang="zh-CN" sz="1400" b="1">
                  <a:solidFill>
                    <a:schemeClr val="tx2"/>
                  </a:solidFill>
                </a:rPr>
                <a:t/>
              </a:r>
              <a:br>
                <a:rPr lang="en-US" altLang="zh-CN" sz="1400" b="1">
                  <a:solidFill>
                    <a:schemeClr val="tx2"/>
                  </a:solidFill>
                </a:rPr>
              </a:br>
              <a:r>
                <a:rPr lang="en-US" altLang="zh-CN" sz="1100">
                  <a:solidFill>
                    <a:schemeClr val="tx2"/>
                  </a:solidFill>
                </a:rPr>
                <a:t>Lorem ipsum dolor sit amet, consectetur adipiscing elit. </a:t>
              </a:r>
            </a:p>
          </p:txBody>
        </p:sp>
        <p:sp>
          <p:nvSpPr>
            <p:cNvPr id="42" name="Content Placeholder 2">
              <a:extLst>
                <a:ext uri="{FF2B5EF4-FFF2-40B4-BE49-F238E27FC236}">
                  <a16:creationId xmlns:a16="http://schemas.microsoft.com/office/drawing/2014/main" id="{BA66B3E6-89CE-47DF-B480-71B02CF9FDE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92488" y="5332673"/>
              <a:ext cx="1931813" cy="849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id-ID" altLang="zh-CN" sz="1400" b="1">
                  <a:solidFill>
                    <a:schemeClr val="tx2"/>
                  </a:solidFill>
                </a:rPr>
                <a:t>Clever &amp; Intellegence</a:t>
              </a:r>
              <a:r>
                <a:rPr lang="en-US" altLang="zh-CN" sz="1400" b="1">
                  <a:solidFill>
                    <a:schemeClr val="tx2"/>
                  </a:solidFill>
                </a:rPr>
                <a:t/>
              </a:r>
              <a:br>
                <a:rPr lang="en-US" altLang="zh-CN" sz="1400" b="1">
                  <a:solidFill>
                    <a:schemeClr val="tx2"/>
                  </a:solidFill>
                </a:rPr>
              </a:br>
              <a:r>
                <a:rPr lang="en-US" altLang="zh-CN" sz="1100">
                  <a:solidFill>
                    <a:schemeClr val="tx2"/>
                  </a:solidFill>
                </a:rPr>
                <a:t>Lorem ipsum dolor sit amet, consectetur adipiscing elit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3381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867">
            <a:extLst>
              <a:ext uri="{FF2B5EF4-FFF2-40B4-BE49-F238E27FC236}">
                <a16:creationId xmlns:a16="http://schemas.microsoft.com/office/drawing/2014/main" id="{6F6EC475-DB97-4C6B-938B-AA2248A7B6F2}"/>
              </a:ext>
            </a:extLst>
          </p:cNvPr>
          <p:cNvSpPr>
            <a:spLocks/>
          </p:cNvSpPr>
          <p:nvPr/>
        </p:nvSpPr>
        <p:spPr bwMode="auto">
          <a:xfrm>
            <a:off x="4495535" y="2263436"/>
            <a:ext cx="2082783" cy="2331127"/>
          </a:xfrm>
          <a:custGeom>
            <a:avLst/>
            <a:gdLst>
              <a:gd name="T0" fmla="*/ 154 w 159"/>
              <a:gd name="T1" fmla="*/ 124 h 178"/>
              <a:gd name="T2" fmla="*/ 150 w 159"/>
              <a:gd name="T3" fmla="*/ 123 h 178"/>
              <a:gd name="T4" fmla="*/ 150 w 159"/>
              <a:gd name="T5" fmla="*/ 123 h 178"/>
              <a:gd name="T6" fmla="*/ 141 w 159"/>
              <a:gd name="T7" fmla="*/ 122 h 178"/>
              <a:gd name="T8" fmla="*/ 159 w 159"/>
              <a:gd name="T9" fmla="*/ 90 h 178"/>
              <a:gd name="T10" fmla="*/ 140 w 159"/>
              <a:gd name="T11" fmla="*/ 56 h 178"/>
              <a:gd name="T12" fmla="*/ 150 w 159"/>
              <a:gd name="T13" fmla="*/ 55 h 178"/>
              <a:gd name="T14" fmla="*/ 150 w 159"/>
              <a:gd name="T15" fmla="*/ 55 h 178"/>
              <a:gd name="T16" fmla="*/ 154 w 159"/>
              <a:gd name="T17" fmla="*/ 54 h 178"/>
              <a:gd name="T18" fmla="*/ 157 w 159"/>
              <a:gd name="T19" fmla="*/ 44 h 178"/>
              <a:gd name="T20" fmla="*/ 147 w 159"/>
              <a:gd name="T21" fmla="*/ 42 h 178"/>
              <a:gd name="T22" fmla="*/ 144 w 159"/>
              <a:gd name="T23" fmla="*/ 45 h 178"/>
              <a:gd name="T24" fmla="*/ 144 w 159"/>
              <a:gd name="T25" fmla="*/ 45 h 178"/>
              <a:gd name="T26" fmla="*/ 138 w 159"/>
              <a:gd name="T27" fmla="*/ 53 h 178"/>
              <a:gd name="T28" fmla="*/ 119 w 159"/>
              <a:gd name="T29" fmla="*/ 20 h 178"/>
              <a:gd name="T30" fmla="*/ 81 w 159"/>
              <a:gd name="T31" fmla="*/ 20 h 178"/>
              <a:gd name="T32" fmla="*/ 85 w 159"/>
              <a:gd name="T33" fmla="*/ 11 h 178"/>
              <a:gd name="T34" fmla="*/ 85 w 159"/>
              <a:gd name="T35" fmla="*/ 11 h 178"/>
              <a:gd name="T36" fmla="*/ 86 w 159"/>
              <a:gd name="T37" fmla="*/ 7 h 178"/>
              <a:gd name="T38" fmla="*/ 79 w 159"/>
              <a:gd name="T39" fmla="*/ 0 h 178"/>
              <a:gd name="T40" fmla="*/ 72 w 159"/>
              <a:gd name="T41" fmla="*/ 7 h 178"/>
              <a:gd name="T42" fmla="*/ 74 w 159"/>
              <a:gd name="T43" fmla="*/ 11 h 178"/>
              <a:gd name="T44" fmla="*/ 74 w 159"/>
              <a:gd name="T45" fmla="*/ 11 h 178"/>
              <a:gd name="T46" fmla="*/ 77 w 159"/>
              <a:gd name="T47" fmla="*/ 20 h 178"/>
              <a:gd name="T48" fmla="*/ 40 w 159"/>
              <a:gd name="T49" fmla="*/ 20 h 178"/>
              <a:gd name="T50" fmla="*/ 21 w 159"/>
              <a:gd name="T51" fmla="*/ 53 h 178"/>
              <a:gd name="T52" fmla="*/ 14 w 159"/>
              <a:gd name="T53" fmla="*/ 45 h 178"/>
              <a:gd name="T54" fmla="*/ 14 w 159"/>
              <a:gd name="T55" fmla="*/ 45 h 178"/>
              <a:gd name="T56" fmla="*/ 12 w 159"/>
              <a:gd name="T57" fmla="*/ 42 h 178"/>
              <a:gd name="T58" fmla="*/ 2 w 159"/>
              <a:gd name="T59" fmla="*/ 44 h 178"/>
              <a:gd name="T60" fmla="*/ 5 w 159"/>
              <a:gd name="T61" fmla="*/ 54 h 178"/>
              <a:gd name="T62" fmla="*/ 9 w 159"/>
              <a:gd name="T63" fmla="*/ 55 h 178"/>
              <a:gd name="T64" fmla="*/ 9 w 159"/>
              <a:gd name="T65" fmla="*/ 55 h 178"/>
              <a:gd name="T66" fmla="*/ 19 w 159"/>
              <a:gd name="T67" fmla="*/ 56 h 178"/>
              <a:gd name="T68" fmla="*/ 0 w 159"/>
              <a:gd name="T69" fmla="*/ 90 h 178"/>
              <a:gd name="T70" fmla="*/ 18 w 159"/>
              <a:gd name="T71" fmla="*/ 122 h 178"/>
              <a:gd name="T72" fmla="*/ 9 w 159"/>
              <a:gd name="T73" fmla="*/ 123 h 178"/>
              <a:gd name="T74" fmla="*/ 9 w 159"/>
              <a:gd name="T75" fmla="*/ 123 h 178"/>
              <a:gd name="T76" fmla="*/ 5 w 159"/>
              <a:gd name="T77" fmla="*/ 124 h 178"/>
              <a:gd name="T78" fmla="*/ 2 w 159"/>
              <a:gd name="T79" fmla="*/ 134 h 178"/>
              <a:gd name="T80" fmla="*/ 12 w 159"/>
              <a:gd name="T81" fmla="*/ 136 h 178"/>
              <a:gd name="T82" fmla="*/ 14 w 159"/>
              <a:gd name="T83" fmla="*/ 133 h 178"/>
              <a:gd name="T84" fmla="*/ 14 w 159"/>
              <a:gd name="T85" fmla="*/ 133 h 178"/>
              <a:gd name="T86" fmla="*/ 20 w 159"/>
              <a:gd name="T87" fmla="*/ 125 h 178"/>
              <a:gd name="T88" fmla="*/ 40 w 159"/>
              <a:gd name="T89" fmla="*/ 159 h 178"/>
              <a:gd name="T90" fmla="*/ 77 w 159"/>
              <a:gd name="T91" fmla="*/ 159 h 178"/>
              <a:gd name="T92" fmla="*/ 74 w 159"/>
              <a:gd name="T93" fmla="*/ 167 h 178"/>
              <a:gd name="T94" fmla="*/ 74 w 159"/>
              <a:gd name="T95" fmla="*/ 167 h 178"/>
              <a:gd name="T96" fmla="*/ 72 w 159"/>
              <a:gd name="T97" fmla="*/ 171 h 178"/>
              <a:gd name="T98" fmla="*/ 79 w 159"/>
              <a:gd name="T99" fmla="*/ 178 h 178"/>
              <a:gd name="T100" fmla="*/ 86 w 159"/>
              <a:gd name="T101" fmla="*/ 171 h 178"/>
              <a:gd name="T102" fmla="*/ 85 w 159"/>
              <a:gd name="T103" fmla="*/ 167 h 178"/>
              <a:gd name="T104" fmla="*/ 85 w 159"/>
              <a:gd name="T105" fmla="*/ 167 h 178"/>
              <a:gd name="T106" fmla="*/ 81 w 159"/>
              <a:gd name="T107" fmla="*/ 159 h 178"/>
              <a:gd name="T108" fmla="*/ 119 w 159"/>
              <a:gd name="T109" fmla="*/ 159 h 178"/>
              <a:gd name="T110" fmla="*/ 139 w 159"/>
              <a:gd name="T111" fmla="*/ 126 h 178"/>
              <a:gd name="T112" fmla="*/ 144 w 159"/>
              <a:gd name="T113" fmla="*/ 133 h 178"/>
              <a:gd name="T114" fmla="*/ 144 w 159"/>
              <a:gd name="T115" fmla="*/ 133 h 178"/>
              <a:gd name="T116" fmla="*/ 147 w 159"/>
              <a:gd name="T117" fmla="*/ 136 h 178"/>
              <a:gd name="T118" fmla="*/ 157 w 159"/>
              <a:gd name="T119" fmla="*/ 134 h 178"/>
              <a:gd name="T120" fmla="*/ 154 w 159"/>
              <a:gd name="T121" fmla="*/ 124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59" h="178">
                <a:moveTo>
                  <a:pt x="154" y="124"/>
                </a:moveTo>
                <a:cubicBezTo>
                  <a:pt x="153" y="123"/>
                  <a:pt x="151" y="123"/>
                  <a:pt x="150" y="123"/>
                </a:cubicBezTo>
                <a:cubicBezTo>
                  <a:pt x="150" y="123"/>
                  <a:pt x="150" y="123"/>
                  <a:pt x="150" y="123"/>
                </a:cubicBezTo>
                <a:cubicBezTo>
                  <a:pt x="146" y="124"/>
                  <a:pt x="143" y="123"/>
                  <a:pt x="141" y="122"/>
                </a:cubicBezTo>
                <a:cubicBezTo>
                  <a:pt x="159" y="90"/>
                  <a:pt x="159" y="90"/>
                  <a:pt x="159" y="90"/>
                </a:cubicBezTo>
                <a:cubicBezTo>
                  <a:pt x="140" y="56"/>
                  <a:pt x="140" y="56"/>
                  <a:pt x="140" y="56"/>
                </a:cubicBezTo>
                <a:cubicBezTo>
                  <a:pt x="143" y="55"/>
                  <a:pt x="146" y="54"/>
                  <a:pt x="150" y="55"/>
                </a:cubicBezTo>
                <a:cubicBezTo>
                  <a:pt x="150" y="55"/>
                  <a:pt x="150" y="55"/>
                  <a:pt x="150" y="55"/>
                </a:cubicBezTo>
                <a:cubicBezTo>
                  <a:pt x="151" y="55"/>
                  <a:pt x="153" y="55"/>
                  <a:pt x="154" y="54"/>
                </a:cubicBezTo>
                <a:cubicBezTo>
                  <a:pt x="157" y="52"/>
                  <a:pt x="159" y="48"/>
                  <a:pt x="157" y="44"/>
                </a:cubicBezTo>
                <a:cubicBezTo>
                  <a:pt x="155" y="41"/>
                  <a:pt x="150" y="40"/>
                  <a:pt x="147" y="42"/>
                </a:cubicBezTo>
                <a:cubicBezTo>
                  <a:pt x="146" y="43"/>
                  <a:pt x="145" y="44"/>
                  <a:pt x="144" y="45"/>
                </a:cubicBezTo>
                <a:cubicBezTo>
                  <a:pt x="144" y="45"/>
                  <a:pt x="144" y="45"/>
                  <a:pt x="144" y="45"/>
                </a:cubicBezTo>
                <a:cubicBezTo>
                  <a:pt x="143" y="49"/>
                  <a:pt x="141" y="51"/>
                  <a:pt x="138" y="53"/>
                </a:cubicBezTo>
                <a:cubicBezTo>
                  <a:pt x="119" y="20"/>
                  <a:pt x="119" y="20"/>
                  <a:pt x="119" y="20"/>
                </a:cubicBezTo>
                <a:cubicBezTo>
                  <a:pt x="81" y="20"/>
                  <a:pt x="81" y="20"/>
                  <a:pt x="81" y="20"/>
                </a:cubicBezTo>
                <a:cubicBezTo>
                  <a:pt x="81" y="17"/>
                  <a:pt x="83" y="14"/>
                  <a:pt x="85" y="11"/>
                </a:cubicBezTo>
                <a:cubicBezTo>
                  <a:pt x="85" y="11"/>
                  <a:pt x="85" y="11"/>
                  <a:pt x="85" y="11"/>
                </a:cubicBezTo>
                <a:cubicBezTo>
                  <a:pt x="86" y="10"/>
                  <a:pt x="86" y="8"/>
                  <a:pt x="86" y="7"/>
                </a:cubicBezTo>
                <a:cubicBezTo>
                  <a:pt x="86" y="3"/>
                  <a:pt x="83" y="0"/>
                  <a:pt x="79" y="0"/>
                </a:cubicBezTo>
                <a:cubicBezTo>
                  <a:pt x="76" y="0"/>
                  <a:pt x="72" y="3"/>
                  <a:pt x="72" y="7"/>
                </a:cubicBezTo>
                <a:cubicBezTo>
                  <a:pt x="72" y="8"/>
                  <a:pt x="73" y="10"/>
                  <a:pt x="74" y="11"/>
                </a:cubicBezTo>
                <a:cubicBezTo>
                  <a:pt x="74" y="11"/>
                  <a:pt x="74" y="11"/>
                  <a:pt x="74" y="11"/>
                </a:cubicBezTo>
                <a:cubicBezTo>
                  <a:pt x="76" y="14"/>
                  <a:pt x="77" y="17"/>
                  <a:pt x="77" y="20"/>
                </a:cubicBezTo>
                <a:cubicBezTo>
                  <a:pt x="40" y="20"/>
                  <a:pt x="40" y="20"/>
                  <a:pt x="40" y="20"/>
                </a:cubicBezTo>
                <a:cubicBezTo>
                  <a:pt x="21" y="53"/>
                  <a:pt x="21" y="53"/>
                  <a:pt x="21" y="53"/>
                </a:cubicBezTo>
                <a:cubicBezTo>
                  <a:pt x="18" y="51"/>
                  <a:pt x="16" y="49"/>
                  <a:pt x="14" y="45"/>
                </a:cubicBezTo>
                <a:cubicBezTo>
                  <a:pt x="14" y="45"/>
                  <a:pt x="14" y="45"/>
                  <a:pt x="14" y="45"/>
                </a:cubicBezTo>
                <a:cubicBezTo>
                  <a:pt x="14" y="44"/>
                  <a:pt x="13" y="43"/>
                  <a:pt x="12" y="42"/>
                </a:cubicBezTo>
                <a:cubicBezTo>
                  <a:pt x="8" y="40"/>
                  <a:pt x="4" y="41"/>
                  <a:pt x="2" y="44"/>
                </a:cubicBezTo>
                <a:cubicBezTo>
                  <a:pt x="0" y="48"/>
                  <a:pt x="1" y="52"/>
                  <a:pt x="5" y="54"/>
                </a:cubicBezTo>
                <a:cubicBezTo>
                  <a:pt x="6" y="55"/>
                  <a:pt x="7" y="55"/>
                  <a:pt x="9" y="55"/>
                </a:cubicBezTo>
                <a:cubicBezTo>
                  <a:pt x="9" y="55"/>
                  <a:pt x="9" y="55"/>
                  <a:pt x="9" y="55"/>
                </a:cubicBezTo>
                <a:cubicBezTo>
                  <a:pt x="13" y="54"/>
                  <a:pt x="16" y="55"/>
                  <a:pt x="19" y="56"/>
                </a:cubicBezTo>
                <a:cubicBezTo>
                  <a:pt x="0" y="90"/>
                  <a:pt x="0" y="90"/>
                  <a:pt x="0" y="90"/>
                </a:cubicBezTo>
                <a:cubicBezTo>
                  <a:pt x="18" y="122"/>
                  <a:pt x="18" y="122"/>
                  <a:pt x="18" y="122"/>
                </a:cubicBezTo>
                <a:cubicBezTo>
                  <a:pt x="16" y="123"/>
                  <a:pt x="13" y="124"/>
                  <a:pt x="9" y="123"/>
                </a:cubicBezTo>
                <a:cubicBezTo>
                  <a:pt x="9" y="123"/>
                  <a:pt x="9" y="123"/>
                  <a:pt x="9" y="123"/>
                </a:cubicBezTo>
                <a:cubicBezTo>
                  <a:pt x="7" y="123"/>
                  <a:pt x="6" y="123"/>
                  <a:pt x="5" y="124"/>
                </a:cubicBezTo>
                <a:cubicBezTo>
                  <a:pt x="1" y="126"/>
                  <a:pt x="0" y="130"/>
                  <a:pt x="2" y="134"/>
                </a:cubicBezTo>
                <a:cubicBezTo>
                  <a:pt x="4" y="137"/>
                  <a:pt x="8" y="138"/>
                  <a:pt x="12" y="136"/>
                </a:cubicBezTo>
                <a:cubicBezTo>
                  <a:pt x="13" y="135"/>
                  <a:pt x="14" y="134"/>
                  <a:pt x="14" y="133"/>
                </a:cubicBezTo>
                <a:cubicBezTo>
                  <a:pt x="14" y="133"/>
                  <a:pt x="14" y="133"/>
                  <a:pt x="14" y="133"/>
                </a:cubicBezTo>
                <a:cubicBezTo>
                  <a:pt x="16" y="129"/>
                  <a:pt x="18" y="127"/>
                  <a:pt x="20" y="125"/>
                </a:cubicBezTo>
                <a:cubicBezTo>
                  <a:pt x="40" y="159"/>
                  <a:pt x="40" y="159"/>
                  <a:pt x="40" y="159"/>
                </a:cubicBezTo>
                <a:cubicBezTo>
                  <a:pt x="77" y="159"/>
                  <a:pt x="77" y="159"/>
                  <a:pt x="77" y="159"/>
                </a:cubicBezTo>
                <a:cubicBezTo>
                  <a:pt x="77" y="162"/>
                  <a:pt x="76" y="164"/>
                  <a:pt x="74" y="167"/>
                </a:cubicBezTo>
                <a:cubicBezTo>
                  <a:pt x="74" y="167"/>
                  <a:pt x="74" y="167"/>
                  <a:pt x="74" y="167"/>
                </a:cubicBezTo>
                <a:cubicBezTo>
                  <a:pt x="73" y="168"/>
                  <a:pt x="72" y="170"/>
                  <a:pt x="72" y="171"/>
                </a:cubicBezTo>
                <a:cubicBezTo>
                  <a:pt x="72" y="175"/>
                  <a:pt x="75" y="178"/>
                  <a:pt x="79" y="178"/>
                </a:cubicBezTo>
                <a:cubicBezTo>
                  <a:pt x="83" y="178"/>
                  <a:pt x="86" y="175"/>
                  <a:pt x="86" y="171"/>
                </a:cubicBezTo>
                <a:cubicBezTo>
                  <a:pt x="86" y="170"/>
                  <a:pt x="86" y="168"/>
                  <a:pt x="85" y="167"/>
                </a:cubicBezTo>
                <a:cubicBezTo>
                  <a:pt x="85" y="167"/>
                  <a:pt x="85" y="167"/>
                  <a:pt x="85" y="167"/>
                </a:cubicBezTo>
                <a:cubicBezTo>
                  <a:pt x="83" y="164"/>
                  <a:pt x="82" y="162"/>
                  <a:pt x="81" y="159"/>
                </a:cubicBezTo>
                <a:cubicBezTo>
                  <a:pt x="119" y="159"/>
                  <a:pt x="119" y="159"/>
                  <a:pt x="119" y="159"/>
                </a:cubicBezTo>
                <a:cubicBezTo>
                  <a:pt x="139" y="126"/>
                  <a:pt x="139" y="126"/>
                  <a:pt x="139" y="126"/>
                </a:cubicBezTo>
                <a:cubicBezTo>
                  <a:pt x="141" y="127"/>
                  <a:pt x="143" y="130"/>
                  <a:pt x="144" y="133"/>
                </a:cubicBezTo>
                <a:cubicBezTo>
                  <a:pt x="144" y="133"/>
                  <a:pt x="144" y="133"/>
                  <a:pt x="144" y="133"/>
                </a:cubicBezTo>
                <a:cubicBezTo>
                  <a:pt x="145" y="134"/>
                  <a:pt x="146" y="135"/>
                  <a:pt x="147" y="136"/>
                </a:cubicBezTo>
                <a:cubicBezTo>
                  <a:pt x="150" y="138"/>
                  <a:pt x="155" y="137"/>
                  <a:pt x="157" y="134"/>
                </a:cubicBezTo>
                <a:cubicBezTo>
                  <a:pt x="159" y="130"/>
                  <a:pt x="157" y="126"/>
                  <a:pt x="154" y="124"/>
                </a:cubicBezTo>
                <a:close/>
              </a:path>
            </a:pathLst>
          </a:custGeom>
          <a:gradFill flip="none" rotWithShape="1">
            <a:gsLst>
              <a:gs pos="100000">
                <a:srgbClr val="FFFFFF">
                  <a:lumMod val="100000"/>
                </a:srgbClr>
              </a:gs>
              <a:gs pos="0">
                <a:srgbClr val="D9D9DA"/>
              </a:gs>
            </a:gsLst>
            <a:lin ang="2700000" scaled="1"/>
            <a:tileRect/>
          </a:gradFill>
          <a:ln w="19050">
            <a:gradFill flip="none" rotWithShape="1">
              <a:gsLst>
                <a:gs pos="100000">
                  <a:srgbClr val="FFFFFF"/>
                </a:gs>
                <a:gs pos="0">
                  <a:srgbClr val="D9D9DA"/>
                </a:gs>
              </a:gsLst>
              <a:lin ang="13500000" scaled="1"/>
              <a:tileRect/>
            </a:gra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5" name="Freeform 1877">
            <a:extLst>
              <a:ext uri="{FF2B5EF4-FFF2-40B4-BE49-F238E27FC236}">
                <a16:creationId xmlns:a16="http://schemas.microsoft.com/office/drawing/2014/main" id="{C3739C7D-1DA0-4290-9D3C-BFC975B652A0}"/>
              </a:ext>
            </a:extLst>
          </p:cNvPr>
          <p:cNvSpPr>
            <a:spLocks/>
          </p:cNvSpPr>
          <p:nvPr/>
        </p:nvSpPr>
        <p:spPr bwMode="auto">
          <a:xfrm>
            <a:off x="2859773" y="1596217"/>
            <a:ext cx="2107617" cy="1819538"/>
          </a:xfrm>
          <a:custGeom>
            <a:avLst/>
            <a:gdLst>
              <a:gd name="T0" fmla="*/ 141 w 161"/>
              <a:gd name="T1" fmla="*/ 37 h 139"/>
              <a:gd name="T2" fmla="*/ 152 w 161"/>
              <a:gd name="T3" fmla="*/ 36 h 139"/>
              <a:gd name="T4" fmla="*/ 152 w 161"/>
              <a:gd name="T5" fmla="*/ 36 h 139"/>
              <a:gd name="T6" fmla="*/ 156 w 161"/>
              <a:gd name="T7" fmla="*/ 35 h 139"/>
              <a:gd name="T8" fmla="*/ 159 w 161"/>
              <a:gd name="T9" fmla="*/ 25 h 139"/>
              <a:gd name="T10" fmla="*/ 149 w 161"/>
              <a:gd name="T11" fmla="*/ 23 h 139"/>
              <a:gd name="T12" fmla="*/ 146 w 161"/>
              <a:gd name="T13" fmla="*/ 26 h 139"/>
              <a:gd name="T14" fmla="*/ 146 w 161"/>
              <a:gd name="T15" fmla="*/ 26 h 139"/>
              <a:gd name="T16" fmla="*/ 139 w 161"/>
              <a:gd name="T17" fmla="*/ 34 h 139"/>
              <a:gd name="T18" fmla="*/ 120 w 161"/>
              <a:gd name="T19" fmla="*/ 0 h 139"/>
              <a:gd name="T20" fmla="*/ 40 w 161"/>
              <a:gd name="T21" fmla="*/ 0 h 139"/>
              <a:gd name="T22" fmla="*/ 0 w 161"/>
              <a:gd name="T23" fmla="*/ 70 h 139"/>
              <a:gd name="T24" fmla="*/ 40 w 161"/>
              <a:gd name="T25" fmla="*/ 139 h 139"/>
              <a:gd name="T26" fmla="*/ 76 w 161"/>
              <a:gd name="T27" fmla="*/ 139 h 139"/>
              <a:gd name="T28" fmla="*/ 74 w 161"/>
              <a:gd name="T29" fmla="*/ 135 h 139"/>
              <a:gd name="T30" fmla="*/ 73 w 161"/>
              <a:gd name="T31" fmla="*/ 133 h 139"/>
              <a:gd name="T32" fmla="*/ 72 w 161"/>
              <a:gd name="T33" fmla="*/ 132 h 139"/>
              <a:gd name="T34" fmla="*/ 72 w 161"/>
              <a:gd name="T35" fmla="*/ 129 h 139"/>
              <a:gd name="T36" fmla="*/ 81 w 161"/>
              <a:gd name="T37" fmla="*/ 120 h 139"/>
              <a:gd name="T38" fmla="*/ 90 w 161"/>
              <a:gd name="T39" fmla="*/ 129 h 139"/>
              <a:gd name="T40" fmla="*/ 90 w 161"/>
              <a:gd name="T41" fmla="*/ 132 h 139"/>
              <a:gd name="T42" fmla="*/ 89 w 161"/>
              <a:gd name="T43" fmla="*/ 133 h 139"/>
              <a:gd name="T44" fmla="*/ 88 w 161"/>
              <a:gd name="T45" fmla="*/ 135 h 139"/>
              <a:gd name="T46" fmla="*/ 86 w 161"/>
              <a:gd name="T47" fmla="*/ 139 h 139"/>
              <a:gd name="T48" fmla="*/ 120 w 161"/>
              <a:gd name="T49" fmla="*/ 139 h 139"/>
              <a:gd name="T50" fmla="*/ 138 w 161"/>
              <a:gd name="T51" fmla="*/ 108 h 139"/>
              <a:gd name="T52" fmla="*/ 137 w 161"/>
              <a:gd name="T53" fmla="*/ 108 h 139"/>
              <a:gd name="T54" fmla="*/ 134 w 161"/>
              <a:gd name="T55" fmla="*/ 108 h 139"/>
              <a:gd name="T56" fmla="*/ 132 w 161"/>
              <a:gd name="T57" fmla="*/ 108 h 139"/>
              <a:gd name="T58" fmla="*/ 131 w 161"/>
              <a:gd name="T59" fmla="*/ 107 h 139"/>
              <a:gd name="T60" fmla="*/ 129 w 161"/>
              <a:gd name="T61" fmla="*/ 107 h 139"/>
              <a:gd name="T62" fmla="*/ 125 w 161"/>
              <a:gd name="T63" fmla="*/ 94 h 139"/>
              <a:gd name="T64" fmla="*/ 133 w 161"/>
              <a:gd name="T65" fmla="*/ 90 h 139"/>
              <a:gd name="T66" fmla="*/ 138 w 161"/>
              <a:gd name="T67" fmla="*/ 91 h 139"/>
              <a:gd name="T68" fmla="*/ 139 w 161"/>
              <a:gd name="T69" fmla="*/ 92 h 139"/>
              <a:gd name="T70" fmla="*/ 140 w 161"/>
              <a:gd name="T71" fmla="*/ 93 h 139"/>
              <a:gd name="T72" fmla="*/ 141 w 161"/>
              <a:gd name="T73" fmla="*/ 95 h 139"/>
              <a:gd name="T74" fmla="*/ 143 w 161"/>
              <a:gd name="T75" fmla="*/ 99 h 139"/>
              <a:gd name="T76" fmla="*/ 160 w 161"/>
              <a:gd name="T77" fmla="*/ 70 h 139"/>
              <a:gd name="T78" fmla="*/ 141 w 161"/>
              <a:gd name="T79" fmla="*/ 37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61" h="139">
                <a:moveTo>
                  <a:pt x="141" y="37"/>
                </a:moveTo>
                <a:cubicBezTo>
                  <a:pt x="144" y="36"/>
                  <a:pt x="147" y="35"/>
                  <a:pt x="152" y="36"/>
                </a:cubicBezTo>
                <a:cubicBezTo>
                  <a:pt x="152" y="36"/>
                  <a:pt x="152" y="36"/>
                  <a:pt x="152" y="36"/>
                </a:cubicBezTo>
                <a:cubicBezTo>
                  <a:pt x="153" y="36"/>
                  <a:pt x="155" y="35"/>
                  <a:pt x="156" y="35"/>
                </a:cubicBezTo>
                <a:cubicBezTo>
                  <a:pt x="159" y="33"/>
                  <a:pt x="161" y="28"/>
                  <a:pt x="159" y="25"/>
                </a:cubicBezTo>
                <a:cubicBezTo>
                  <a:pt x="157" y="22"/>
                  <a:pt x="152" y="21"/>
                  <a:pt x="149" y="23"/>
                </a:cubicBezTo>
                <a:cubicBezTo>
                  <a:pt x="148" y="23"/>
                  <a:pt x="147" y="24"/>
                  <a:pt x="146" y="26"/>
                </a:cubicBezTo>
                <a:cubicBezTo>
                  <a:pt x="146" y="26"/>
                  <a:pt x="146" y="26"/>
                  <a:pt x="146" y="26"/>
                </a:cubicBezTo>
                <a:cubicBezTo>
                  <a:pt x="144" y="30"/>
                  <a:pt x="142" y="32"/>
                  <a:pt x="139" y="34"/>
                </a:cubicBezTo>
                <a:cubicBezTo>
                  <a:pt x="120" y="0"/>
                  <a:pt x="120" y="0"/>
                  <a:pt x="120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0" y="70"/>
                  <a:pt x="0" y="70"/>
                  <a:pt x="0" y="70"/>
                </a:cubicBezTo>
                <a:cubicBezTo>
                  <a:pt x="40" y="139"/>
                  <a:pt x="40" y="139"/>
                  <a:pt x="40" y="139"/>
                </a:cubicBezTo>
                <a:cubicBezTo>
                  <a:pt x="76" y="139"/>
                  <a:pt x="76" y="139"/>
                  <a:pt x="76" y="139"/>
                </a:cubicBezTo>
                <a:cubicBezTo>
                  <a:pt x="76" y="138"/>
                  <a:pt x="75" y="136"/>
                  <a:pt x="74" y="135"/>
                </a:cubicBezTo>
                <a:cubicBezTo>
                  <a:pt x="73" y="133"/>
                  <a:pt x="73" y="133"/>
                  <a:pt x="73" y="133"/>
                </a:cubicBezTo>
                <a:cubicBezTo>
                  <a:pt x="72" y="132"/>
                  <a:pt x="72" y="132"/>
                  <a:pt x="72" y="132"/>
                </a:cubicBezTo>
                <a:cubicBezTo>
                  <a:pt x="72" y="131"/>
                  <a:pt x="72" y="130"/>
                  <a:pt x="72" y="129"/>
                </a:cubicBezTo>
                <a:cubicBezTo>
                  <a:pt x="72" y="124"/>
                  <a:pt x="76" y="120"/>
                  <a:pt x="81" y="120"/>
                </a:cubicBezTo>
                <a:cubicBezTo>
                  <a:pt x="86" y="120"/>
                  <a:pt x="90" y="124"/>
                  <a:pt x="90" y="129"/>
                </a:cubicBezTo>
                <a:cubicBezTo>
                  <a:pt x="90" y="130"/>
                  <a:pt x="90" y="131"/>
                  <a:pt x="90" y="132"/>
                </a:cubicBezTo>
                <a:cubicBezTo>
                  <a:pt x="89" y="133"/>
                  <a:pt x="89" y="133"/>
                  <a:pt x="89" y="133"/>
                </a:cubicBezTo>
                <a:cubicBezTo>
                  <a:pt x="88" y="135"/>
                  <a:pt x="88" y="135"/>
                  <a:pt x="88" y="135"/>
                </a:cubicBezTo>
                <a:cubicBezTo>
                  <a:pt x="87" y="136"/>
                  <a:pt x="86" y="138"/>
                  <a:pt x="86" y="139"/>
                </a:cubicBezTo>
                <a:cubicBezTo>
                  <a:pt x="120" y="139"/>
                  <a:pt x="120" y="139"/>
                  <a:pt x="120" y="139"/>
                </a:cubicBezTo>
                <a:cubicBezTo>
                  <a:pt x="138" y="108"/>
                  <a:pt x="138" y="108"/>
                  <a:pt x="138" y="108"/>
                </a:cubicBezTo>
                <a:cubicBezTo>
                  <a:pt x="138" y="108"/>
                  <a:pt x="137" y="108"/>
                  <a:pt x="137" y="108"/>
                </a:cubicBezTo>
                <a:cubicBezTo>
                  <a:pt x="136" y="108"/>
                  <a:pt x="135" y="108"/>
                  <a:pt x="134" y="108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31" y="107"/>
                  <a:pt x="131" y="107"/>
                  <a:pt x="131" y="107"/>
                </a:cubicBezTo>
                <a:cubicBezTo>
                  <a:pt x="130" y="107"/>
                  <a:pt x="129" y="107"/>
                  <a:pt x="129" y="107"/>
                </a:cubicBezTo>
                <a:cubicBezTo>
                  <a:pt x="124" y="104"/>
                  <a:pt x="123" y="99"/>
                  <a:pt x="125" y="94"/>
                </a:cubicBezTo>
                <a:cubicBezTo>
                  <a:pt x="127" y="92"/>
                  <a:pt x="130" y="90"/>
                  <a:pt x="133" y="90"/>
                </a:cubicBezTo>
                <a:cubicBezTo>
                  <a:pt x="135" y="90"/>
                  <a:pt x="136" y="90"/>
                  <a:pt x="138" y="91"/>
                </a:cubicBezTo>
                <a:cubicBezTo>
                  <a:pt x="138" y="91"/>
                  <a:pt x="139" y="92"/>
                  <a:pt x="139" y="92"/>
                </a:cubicBezTo>
                <a:cubicBezTo>
                  <a:pt x="140" y="93"/>
                  <a:pt x="140" y="93"/>
                  <a:pt x="140" y="93"/>
                </a:cubicBezTo>
                <a:cubicBezTo>
                  <a:pt x="141" y="95"/>
                  <a:pt x="141" y="95"/>
                  <a:pt x="141" y="95"/>
                </a:cubicBezTo>
                <a:cubicBezTo>
                  <a:pt x="142" y="97"/>
                  <a:pt x="143" y="98"/>
                  <a:pt x="143" y="99"/>
                </a:cubicBezTo>
                <a:cubicBezTo>
                  <a:pt x="160" y="70"/>
                  <a:pt x="160" y="70"/>
                  <a:pt x="160" y="70"/>
                </a:cubicBezTo>
                <a:lnTo>
                  <a:pt x="141" y="37"/>
                </a:lnTo>
                <a:close/>
              </a:path>
            </a:pathLst>
          </a:custGeom>
          <a:gradFill flip="none" rotWithShape="1">
            <a:gsLst>
              <a:gs pos="100000">
                <a:srgbClr val="FFFFFF">
                  <a:lumMod val="100000"/>
                </a:srgbClr>
              </a:gs>
              <a:gs pos="0">
                <a:srgbClr val="D9D9DA"/>
              </a:gs>
            </a:gsLst>
            <a:lin ang="2700000" scaled="1"/>
            <a:tileRect/>
          </a:gradFill>
          <a:ln w="19050">
            <a:gradFill flip="none" rotWithShape="1">
              <a:gsLst>
                <a:gs pos="100000">
                  <a:srgbClr val="FFFFFF"/>
                </a:gs>
                <a:gs pos="0">
                  <a:srgbClr val="D9D9DA"/>
                </a:gs>
              </a:gsLst>
              <a:lin ang="13500000" scaled="1"/>
              <a:tileRect/>
            </a:gra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6" name="Freeform 1887">
            <a:extLst>
              <a:ext uri="{FF2B5EF4-FFF2-40B4-BE49-F238E27FC236}">
                <a16:creationId xmlns:a16="http://schemas.microsoft.com/office/drawing/2014/main" id="{0A3F67A7-0009-42BD-9BF5-057FC6DD691D}"/>
              </a:ext>
            </a:extLst>
          </p:cNvPr>
          <p:cNvSpPr>
            <a:spLocks/>
          </p:cNvSpPr>
          <p:nvPr/>
        </p:nvSpPr>
        <p:spPr bwMode="auto">
          <a:xfrm>
            <a:off x="2873018" y="3193900"/>
            <a:ext cx="2094372" cy="2094372"/>
          </a:xfrm>
          <a:custGeom>
            <a:avLst/>
            <a:gdLst>
              <a:gd name="T0" fmla="*/ 142 w 160"/>
              <a:gd name="T1" fmla="*/ 60 h 160"/>
              <a:gd name="T2" fmla="*/ 140 w 160"/>
              <a:gd name="T3" fmla="*/ 63 h 160"/>
              <a:gd name="T4" fmla="*/ 139 w 160"/>
              <a:gd name="T5" fmla="*/ 65 h 160"/>
              <a:gd name="T6" fmla="*/ 138 w 160"/>
              <a:gd name="T7" fmla="*/ 66 h 160"/>
              <a:gd name="T8" fmla="*/ 137 w 160"/>
              <a:gd name="T9" fmla="*/ 67 h 160"/>
              <a:gd name="T10" fmla="*/ 132 w 160"/>
              <a:gd name="T11" fmla="*/ 68 h 160"/>
              <a:gd name="T12" fmla="*/ 124 w 160"/>
              <a:gd name="T13" fmla="*/ 64 h 160"/>
              <a:gd name="T14" fmla="*/ 128 w 160"/>
              <a:gd name="T15" fmla="*/ 51 h 160"/>
              <a:gd name="T16" fmla="*/ 129 w 160"/>
              <a:gd name="T17" fmla="*/ 51 h 160"/>
              <a:gd name="T18" fmla="*/ 131 w 160"/>
              <a:gd name="T19" fmla="*/ 50 h 160"/>
              <a:gd name="T20" fmla="*/ 133 w 160"/>
              <a:gd name="T21" fmla="*/ 50 h 160"/>
              <a:gd name="T22" fmla="*/ 136 w 160"/>
              <a:gd name="T23" fmla="*/ 50 h 160"/>
              <a:gd name="T24" fmla="*/ 136 w 160"/>
              <a:gd name="T25" fmla="*/ 50 h 160"/>
              <a:gd name="T26" fmla="*/ 120 w 160"/>
              <a:gd name="T27" fmla="*/ 22 h 160"/>
              <a:gd name="T28" fmla="*/ 82 w 160"/>
              <a:gd name="T29" fmla="*/ 22 h 160"/>
              <a:gd name="T30" fmla="*/ 86 w 160"/>
              <a:gd name="T31" fmla="*/ 12 h 160"/>
              <a:gd name="T32" fmla="*/ 86 w 160"/>
              <a:gd name="T33" fmla="*/ 12 h 160"/>
              <a:gd name="T34" fmla="*/ 87 w 160"/>
              <a:gd name="T35" fmla="*/ 7 h 160"/>
              <a:gd name="T36" fmla="*/ 80 w 160"/>
              <a:gd name="T37" fmla="*/ 0 h 160"/>
              <a:gd name="T38" fmla="*/ 73 w 160"/>
              <a:gd name="T39" fmla="*/ 7 h 160"/>
              <a:gd name="T40" fmla="*/ 74 w 160"/>
              <a:gd name="T41" fmla="*/ 12 h 160"/>
              <a:gd name="T42" fmla="*/ 74 w 160"/>
              <a:gd name="T43" fmla="*/ 12 h 160"/>
              <a:gd name="T44" fmla="*/ 78 w 160"/>
              <a:gd name="T45" fmla="*/ 22 h 160"/>
              <a:gd name="T46" fmla="*/ 40 w 160"/>
              <a:gd name="T47" fmla="*/ 22 h 160"/>
              <a:gd name="T48" fmla="*/ 0 w 160"/>
              <a:gd name="T49" fmla="*/ 91 h 160"/>
              <a:gd name="T50" fmla="*/ 40 w 160"/>
              <a:gd name="T51" fmla="*/ 160 h 160"/>
              <a:gd name="T52" fmla="*/ 120 w 160"/>
              <a:gd name="T53" fmla="*/ 160 h 160"/>
              <a:gd name="T54" fmla="*/ 138 w 160"/>
              <a:gd name="T55" fmla="*/ 129 h 160"/>
              <a:gd name="T56" fmla="*/ 135 w 160"/>
              <a:gd name="T57" fmla="*/ 129 h 160"/>
              <a:gd name="T58" fmla="*/ 132 w 160"/>
              <a:gd name="T59" fmla="*/ 129 h 160"/>
              <a:gd name="T60" fmla="*/ 130 w 160"/>
              <a:gd name="T61" fmla="*/ 129 h 160"/>
              <a:gd name="T62" fmla="*/ 129 w 160"/>
              <a:gd name="T63" fmla="*/ 128 h 160"/>
              <a:gd name="T64" fmla="*/ 127 w 160"/>
              <a:gd name="T65" fmla="*/ 128 h 160"/>
              <a:gd name="T66" fmla="*/ 123 w 160"/>
              <a:gd name="T67" fmla="*/ 122 h 160"/>
              <a:gd name="T68" fmla="*/ 124 w 160"/>
              <a:gd name="T69" fmla="*/ 115 h 160"/>
              <a:gd name="T70" fmla="*/ 131 w 160"/>
              <a:gd name="T71" fmla="*/ 111 h 160"/>
              <a:gd name="T72" fmla="*/ 136 w 160"/>
              <a:gd name="T73" fmla="*/ 112 h 160"/>
              <a:gd name="T74" fmla="*/ 138 w 160"/>
              <a:gd name="T75" fmla="*/ 113 h 160"/>
              <a:gd name="T76" fmla="*/ 139 w 160"/>
              <a:gd name="T77" fmla="*/ 115 h 160"/>
              <a:gd name="T78" fmla="*/ 140 w 160"/>
              <a:gd name="T79" fmla="*/ 116 h 160"/>
              <a:gd name="T80" fmla="*/ 142 w 160"/>
              <a:gd name="T81" fmla="*/ 121 h 160"/>
              <a:gd name="T82" fmla="*/ 160 w 160"/>
              <a:gd name="T83" fmla="*/ 91 h 160"/>
              <a:gd name="T84" fmla="*/ 142 w 160"/>
              <a:gd name="T85" fmla="*/ 6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60" h="160">
                <a:moveTo>
                  <a:pt x="142" y="60"/>
                </a:moveTo>
                <a:cubicBezTo>
                  <a:pt x="141" y="61"/>
                  <a:pt x="141" y="62"/>
                  <a:pt x="140" y="63"/>
                </a:cubicBezTo>
                <a:cubicBezTo>
                  <a:pt x="139" y="65"/>
                  <a:pt x="139" y="65"/>
                  <a:pt x="139" y="65"/>
                </a:cubicBezTo>
                <a:cubicBezTo>
                  <a:pt x="138" y="66"/>
                  <a:pt x="138" y="66"/>
                  <a:pt x="138" y="66"/>
                </a:cubicBezTo>
                <a:cubicBezTo>
                  <a:pt x="138" y="66"/>
                  <a:pt x="137" y="67"/>
                  <a:pt x="137" y="67"/>
                </a:cubicBezTo>
                <a:cubicBezTo>
                  <a:pt x="135" y="68"/>
                  <a:pt x="134" y="68"/>
                  <a:pt x="132" y="68"/>
                </a:cubicBezTo>
                <a:cubicBezTo>
                  <a:pt x="129" y="68"/>
                  <a:pt x="126" y="66"/>
                  <a:pt x="124" y="64"/>
                </a:cubicBezTo>
                <a:cubicBezTo>
                  <a:pt x="122" y="59"/>
                  <a:pt x="123" y="54"/>
                  <a:pt x="128" y="51"/>
                </a:cubicBezTo>
                <a:cubicBezTo>
                  <a:pt x="128" y="51"/>
                  <a:pt x="129" y="51"/>
                  <a:pt x="129" y="51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3" y="50"/>
                  <a:pt x="133" y="50"/>
                  <a:pt x="133" y="50"/>
                </a:cubicBezTo>
                <a:cubicBezTo>
                  <a:pt x="134" y="50"/>
                  <a:pt x="135" y="50"/>
                  <a:pt x="136" y="50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20" y="22"/>
                  <a:pt x="120" y="22"/>
                  <a:pt x="120" y="22"/>
                </a:cubicBezTo>
                <a:cubicBezTo>
                  <a:pt x="82" y="22"/>
                  <a:pt x="82" y="22"/>
                  <a:pt x="82" y="22"/>
                </a:cubicBezTo>
                <a:cubicBezTo>
                  <a:pt x="82" y="18"/>
                  <a:pt x="83" y="15"/>
                  <a:pt x="86" y="12"/>
                </a:cubicBezTo>
                <a:cubicBezTo>
                  <a:pt x="86" y="12"/>
                  <a:pt x="86" y="12"/>
                  <a:pt x="86" y="12"/>
                </a:cubicBezTo>
                <a:cubicBezTo>
                  <a:pt x="86" y="10"/>
                  <a:pt x="87" y="9"/>
                  <a:pt x="87" y="7"/>
                </a:cubicBezTo>
                <a:cubicBezTo>
                  <a:pt x="87" y="4"/>
                  <a:pt x="84" y="0"/>
                  <a:pt x="80" y="0"/>
                </a:cubicBezTo>
                <a:cubicBezTo>
                  <a:pt x="76" y="0"/>
                  <a:pt x="73" y="4"/>
                  <a:pt x="73" y="7"/>
                </a:cubicBezTo>
                <a:cubicBezTo>
                  <a:pt x="73" y="9"/>
                  <a:pt x="73" y="10"/>
                  <a:pt x="74" y="12"/>
                </a:cubicBezTo>
                <a:cubicBezTo>
                  <a:pt x="74" y="12"/>
                  <a:pt x="74" y="12"/>
                  <a:pt x="74" y="12"/>
                </a:cubicBezTo>
                <a:cubicBezTo>
                  <a:pt x="77" y="15"/>
                  <a:pt x="78" y="18"/>
                  <a:pt x="78" y="22"/>
                </a:cubicBezTo>
                <a:cubicBezTo>
                  <a:pt x="40" y="22"/>
                  <a:pt x="40" y="22"/>
                  <a:pt x="40" y="22"/>
                </a:cubicBezTo>
                <a:cubicBezTo>
                  <a:pt x="0" y="91"/>
                  <a:pt x="0" y="91"/>
                  <a:pt x="0" y="91"/>
                </a:cubicBezTo>
                <a:cubicBezTo>
                  <a:pt x="40" y="160"/>
                  <a:pt x="40" y="160"/>
                  <a:pt x="40" y="160"/>
                </a:cubicBezTo>
                <a:cubicBezTo>
                  <a:pt x="120" y="160"/>
                  <a:pt x="120" y="160"/>
                  <a:pt x="120" y="160"/>
                </a:cubicBezTo>
                <a:cubicBezTo>
                  <a:pt x="138" y="129"/>
                  <a:pt x="138" y="129"/>
                  <a:pt x="138" y="129"/>
                </a:cubicBezTo>
                <a:cubicBezTo>
                  <a:pt x="137" y="129"/>
                  <a:pt x="136" y="129"/>
                  <a:pt x="135" y="129"/>
                </a:cubicBezTo>
                <a:cubicBezTo>
                  <a:pt x="134" y="129"/>
                  <a:pt x="133" y="129"/>
                  <a:pt x="132" y="129"/>
                </a:cubicBezTo>
                <a:cubicBezTo>
                  <a:pt x="130" y="129"/>
                  <a:pt x="130" y="129"/>
                  <a:pt x="130" y="129"/>
                </a:cubicBezTo>
                <a:cubicBezTo>
                  <a:pt x="129" y="128"/>
                  <a:pt x="129" y="128"/>
                  <a:pt x="129" y="128"/>
                </a:cubicBezTo>
                <a:cubicBezTo>
                  <a:pt x="128" y="128"/>
                  <a:pt x="128" y="128"/>
                  <a:pt x="127" y="128"/>
                </a:cubicBezTo>
                <a:cubicBezTo>
                  <a:pt x="125" y="126"/>
                  <a:pt x="123" y="124"/>
                  <a:pt x="123" y="122"/>
                </a:cubicBezTo>
                <a:cubicBezTo>
                  <a:pt x="122" y="120"/>
                  <a:pt x="122" y="117"/>
                  <a:pt x="124" y="115"/>
                </a:cubicBezTo>
                <a:cubicBezTo>
                  <a:pt x="125" y="113"/>
                  <a:pt x="128" y="111"/>
                  <a:pt x="131" y="111"/>
                </a:cubicBezTo>
                <a:cubicBezTo>
                  <a:pt x="133" y="111"/>
                  <a:pt x="135" y="111"/>
                  <a:pt x="136" y="112"/>
                </a:cubicBezTo>
                <a:cubicBezTo>
                  <a:pt x="137" y="112"/>
                  <a:pt x="137" y="113"/>
                  <a:pt x="138" y="113"/>
                </a:cubicBezTo>
                <a:cubicBezTo>
                  <a:pt x="139" y="115"/>
                  <a:pt x="139" y="115"/>
                  <a:pt x="139" y="115"/>
                </a:cubicBezTo>
                <a:cubicBezTo>
                  <a:pt x="140" y="116"/>
                  <a:pt x="140" y="116"/>
                  <a:pt x="140" y="116"/>
                </a:cubicBezTo>
                <a:cubicBezTo>
                  <a:pt x="140" y="118"/>
                  <a:pt x="141" y="120"/>
                  <a:pt x="142" y="121"/>
                </a:cubicBezTo>
                <a:cubicBezTo>
                  <a:pt x="160" y="91"/>
                  <a:pt x="160" y="91"/>
                  <a:pt x="160" y="91"/>
                </a:cubicBezTo>
                <a:lnTo>
                  <a:pt x="142" y="60"/>
                </a:lnTo>
                <a:close/>
              </a:path>
            </a:pathLst>
          </a:custGeom>
          <a:gradFill flip="none" rotWithShape="1">
            <a:gsLst>
              <a:gs pos="100000">
                <a:srgbClr val="1D8DE5"/>
              </a:gs>
              <a:gs pos="0">
                <a:srgbClr val="007BB5"/>
              </a:gs>
            </a:gsLst>
            <a:lin ang="2700000" scaled="1"/>
            <a:tileRect/>
          </a:gradFill>
          <a:ln w="19050">
            <a:gradFill flip="none" rotWithShape="1">
              <a:gsLst>
                <a:gs pos="100000">
                  <a:srgbClr val="1D8DE5"/>
                </a:gs>
                <a:gs pos="0">
                  <a:srgbClr val="007BB5"/>
                </a:gs>
              </a:gsLst>
              <a:lin ang="13500000" scaled="1"/>
              <a:tileRect/>
            </a:gra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1897">
            <a:extLst>
              <a:ext uri="{FF2B5EF4-FFF2-40B4-BE49-F238E27FC236}">
                <a16:creationId xmlns:a16="http://schemas.microsoft.com/office/drawing/2014/main" id="{E56A63AF-5ED4-4BF0-91E5-6D41B7B7830B}"/>
              </a:ext>
            </a:extLst>
          </p:cNvPr>
          <p:cNvSpPr>
            <a:spLocks/>
          </p:cNvSpPr>
          <p:nvPr/>
        </p:nvSpPr>
        <p:spPr bwMode="auto">
          <a:xfrm>
            <a:off x="4482290" y="4410788"/>
            <a:ext cx="2109273" cy="1807948"/>
          </a:xfrm>
          <a:custGeom>
            <a:avLst/>
            <a:gdLst>
              <a:gd name="T0" fmla="*/ 143 w 161"/>
              <a:gd name="T1" fmla="*/ 37 h 138"/>
              <a:gd name="T2" fmla="*/ 140 w 161"/>
              <a:gd name="T3" fmla="*/ 42 h 138"/>
              <a:gd name="T4" fmla="*/ 139 w 161"/>
              <a:gd name="T5" fmla="*/ 44 h 138"/>
              <a:gd name="T6" fmla="*/ 138 w 161"/>
              <a:gd name="T7" fmla="*/ 45 h 138"/>
              <a:gd name="T8" fmla="*/ 136 w 161"/>
              <a:gd name="T9" fmla="*/ 46 h 138"/>
              <a:gd name="T10" fmla="*/ 131 w 161"/>
              <a:gd name="T11" fmla="*/ 47 h 138"/>
              <a:gd name="T12" fmla="*/ 124 w 161"/>
              <a:gd name="T13" fmla="*/ 43 h 138"/>
              <a:gd name="T14" fmla="*/ 123 w 161"/>
              <a:gd name="T15" fmla="*/ 36 h 138"/>
              <a:gd name="T16" fmla="*/ 127 w 161"/>
              <a:gd name="T17" fmla="*/ 31 h 138"/>
              <a:gd name="T18" fmla="*/ 129 w 161"/>
              <a:gd name="T19" fmla="*/ 30 h 138"/>
              <a:gd name="T20" fmla="*/ 130 w 161"/>
              <a:gd name="T21" fmla="*/ 30 h 138"/>
              <a:gd name="T22" fmla="*/ 132 w 161"/>
              <a:gd name="T23" fmla="*/ 29 h 138"/>
              <a:gd name="T24" fmla="*/ 135 w 161"/>
              <a:gd name="T25" fmla="*/ 30 h 138"/>
              <a:gd name="T26" fmla="*/ 138 w 161"/>
              <a:gd name="T27" fmla="*/ 29 h 138"/>
              <a:gd name="T28" fmla="*/ 121 w 161"/>
              <a:gd name="T29" fmla="*/ 0 h 138"/>
              <a:gd name="T30" fmla="*/ 86 w 161"/>
              <a:gd name="T31" fmla="*/ 0 h 138"/>
              <a:gd name="T32" fmla="*/ 88 w 161"/>
              <a:gd name="T33" fmla="*/ 2 h 138"/>
              <a:gd name="T34" fmla="*/ 88 w 161"/>
              <a:gd name="T35" fmla="*/ 4 h 138"/>
              <a:gd name="T36" fmla="*/ 89 w 161"/>
              <a:gd name="T37" fmla="*/ 5 h 138"/>
              <a:gd name="T38" fmla="*/ 89 w 161"/>
              <a:gd name="T39" fmla="*/ 7 h 138"/>
              <a:gd name="T40" fmla="*/ 80 w 161"/>
              <a:gd name="T41" fmla="*/ 16 h 138"/>
              <a:gd name="T42" fmla="*/ 71 w 161"/>
              <a:gd name="T43" fmla="*/ 7 h 138"/>
              <a:gd name="T44" fmla="*/ 71 w 161"/>
              <a:gd name="T45" fmla="*/ 6 h 138"/>
              <a:gd name="T46" fmla="*/ 72 w 161"/>
              <a:gd name="T47" fmla="*/ 4 h 138"/>
              <a:gd name="T48" fmla="*/ 73 w 161"/>
              <a:gd name="T49" fmla="*/ 2 h 138"/>
              <a:gd name="T50" fmla="*/ 75 w 161"/>
              <a:gd name="T51" fmla="*/ 0 h 138"/>
              <a:gd name="T52" fmla="*/ 41 w 161"/>
              <a:gd name="T53" fmla="*/ 0 h 138"/>
              <a:gd name="T54" fmla="*/ 22 w 161"/>
              <a:gd name="T55" fmla="*/ 32 h 138"/>
              <a:gd name="T56" fmla="*/ 15 w 161"/>
              <a:gd name="T57" fmla="*/ 24 h 138"/>
              <a:gd name="T58" fmla="*/ 15 w 161"/>
              <a:gd name="T59" fmla="*/ 24 h 138"/>
              <a:gd name="T60" fmla="*/ 12 w 161"/>
              <a:gd name="T61" fmla="*/ 21 h 138"/>
              <a:gd name="T62" fmla="*/ 2 w 161"/>
              <a:gd name="T63" fmla="*/ 23 h 138"/>
              <a:gd name="T64" fmla="*/ 5 w 161"/>
              <a:gd name="T65" fmla="*/ 33 h 138"/>
              <a:gd name="T66" fmla="*/ 9 w 161"/>
              <a:gd name="T67" fmla="*/ 34 h 138"/>
              <a:gd name="T68" fmla="*/ 9 w 161"/>
              <a:gd name="T69" fmla="*/ 34 h 138"/>
              <a:gd name="T70" fmla="*/ 20 w 161"/>
              <a:gd name="T71" fmla="*/ 36 h 138"/>
              <a:gd name="T72" fmla="*/ 1 w 161"/>
              <a:gd name="T73" fmla="*/ 69 h 138"/>
              <a:gd name="T74" fmla="*/ 41 w 161"/>
              <a:gd name="T75" fmla="*/ 138 h 138"/>
              <a:gd name="T76" fmla="*/ 121 w 161"/>
              <a:gd name="T77" fmla="*/ 138 h 138"/>
              <a:gd name="T78" fmla="*/ 161 w 161"/>
              <a:gd name="T79" fmla="*/ 69 h 138"/>
              <a:gd name="T80" fmla="*/ 143 w 161"/>
              <a:gd name="T81" fmla="*/ 37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1" h="138">
                <a:moveTo>
                  <a:pt x="143" y="37"/>
                </a:moveTo>
                <a:cubicBezTo>
                  <a:pt x="142" y="38"/>
                  <a:pt x="141" y="40"/>
                  <a:pt x="140" y="42"/>
                </a:cubicBezTo>
                <a:cubicBezTo>
                  <a:pt x="139" y="44"/>
                  <a:pt x="139" y="44"/>
                  <a:pt x="139" y="44"/>
                </a:cubicBezTo>
                <a:cubicBezTo>
                  <a:pt x="138" y="45"/>
                  <a:pt x="138" y="45"/>
                  <a:pt x="138" y="45"/>
                </a:cubicBezTo>
                <a:cubicBezTo>
                  <a:pt x="137" y="45"/>
                  <a:pt x="137" y="46"/>
                  <a:pt x="136" y="46"/>
                </a:cubicBezTo>
                <a:cubicBezTo>
                  <a:pt x="135" y="47"/>
                  <a:pt x="133" y="47"/>
                  <a:pt x="131" y="47"/>
                </a:cubicBezTo>
                <a:cubicBezTo>
                  <a:pt x="128" y="47"/>
                  <a:pt x="125" y="46"/>
                  <a:pt x="124" y="43"/>
                </a:cubicBezTo>
                <a:cubicBezTo>
                  <a:pt x="122" y="41"/>
                  <a:pt x="122" y="38"/>
                  <a:pt x="123" y="36"/>
                </a:cubicBezTo>
                <a:cubicBezTo>
                  <a:pt x="123" y="34"/>
                  <a:pt x="125" y="32"/>
                  <a:pt x="127" y="31"/>
                </a:cubicBezTo>
                <a:cubicBezTo>
                  <a:pt x="128" y="30"/>
                  <a:pt x="128" y="30"/>
                  <a:pt x="129" y="30"/>
                </a:cubicBezTo>
                <a:cubicBezTo>
                  <a:pt x="130" y="30"/>
                  <a:pt x="130" y="30"/>
                  <a:pt x="130" y="30"/>
                </a:cubicBezTo>
                <a:cubicBezTo>
                  <a:pt x="132" y="29"/>
                  <a:pt x="132" y="29"/>
                  <a:pt x="132" y="29"/>
                </a:cubicBezTo>
                <a:cubicBezTo>
                  <a:pt x="133" y="30"/>
                  <a:pt x="134" y="30"/>
                  <a:pt x="135" y="30"/>
                </a:cubicBezTo>
                <a:cubicBezTo>
                  <a:pt x="136" y="30"/>
                  <a:pt x="137" y="29"/>
                  <a:pt x="138" y="29"/>
                </a:cubicBezTo>
                <a:cubicBezTo>
                  <a:pt x="121" y="0"/>
                  <a:pt x="121" y="0"/>
                  <a:pt x="121" y="0"/>
                </a:cubicBezTo>
                <a:cubicBezTo>
                  <a:pt x="86" y="0"/>
                  <a:pt x="86" y="0"/>
                  <a:pt x="86" y="0"/>
                </a:cubicBezTo>
                <a:cubicBezTo>
                  <a:pt x="87" y="0"/>
                  <a:pt x="87" y="1"/>
                  <a:pt x="88" y="2"/>
                </a:cubicBezTo>
                <a:cubicBezTo>
                  <a:pt x="88" y="4"/>
                  <a:pt x="88" y="4"/>
                  <a:pt x="88" y="4"/>
                </a:cubicBezTo>
                <a:cubicBezTo>
                  <a:pt x="89" y="5"/>
                  <a:pt x="89" y="5"/>
                  <a:pt x="89" y="5"/>
                </a:cubicBezTo>
                <a:cubicBezTo>
                  <a:pt x="89" y="6"/>
                  <a:pt x="89" y="7"/>
                  <a:pt x="89" y="7"/>
                </a:cubicBezTo>
                <a:cubicBezTo>
                  <a:pt x="89" y="12"/>
                  <a:pt x="85" y="16"/>
                  <a:pt x="80" y="16"/>
                </a:cubicBezTo>
                <a:cubicBezTo>
                  <a:pt x="75" y="16"/>
                  <a:pt x="71" y="12"/>
                  <a:pt x="71" y="7"/>
                </a:cubicBezTo>
                <a:cubicBezTo>
                  <a:pt x="71" y="7"/>
                  <a:pt x="71" y="6"/>
                  <a:pt x="71" y="6"/>
                </a:cubicBezTo>
                <a:cubicBezTo>
                  <a:pt x="72" y="4"/>
                  <a:pt x="72" y="4"/>
                  <a:pt x="72" y="4"/>
                </a:cubicBezTo>
                <a:cubicBezTo>
                  <a:pt x="73" y="2"/>
                  <a:pt x="73" y="2"/>
                  <a:pt x="73" y="2"/>
                </a:cubicBezTo>
                <a:cubicBezTo>
                  <a:pt x="74" y="1"/>
                  <a:pt x="74" y="0"/>
                  <a:pt x="75" y="0"/>
                </a:cubicBezTo>
                <a:cubicBezTo>
                  <a:pt x="41" y="0"/>
                  <a:pt x="41" y="0"/>
                  <a:pt x="41" y="0"/>
                </a:cubicBezTo>
                <a:cubicBezTo>
                  <a:pt x="22" y="32"/>
                  <a:pt x="22" y="32"/>
                  <a:pt x="22" y="32"/>
                </a:cubicBezTo>
                <a:cubicBezTo>
                  <a:pt x="19" y="31"/>
                  <a:pt x="17" y="28"/>
                  <a:pt x="15" y="24"/>
                </a:cubicBezTo>
                <a:cubicBezTo>
                  <a:pt x="15" y="24"/>
                  <a:pt x="15" y="24"/>
                  <a:pt x="15" y="24"/>
                </a:cubicBezTo>
                <a:cubicBezTo>
                  <a:pt x="14" y="23"/>
                  <a:pt x="13" y="22"/>
                  <a:pt x="12" y="21"/>
                </a:cubicBezTo>
                <a:cubicBezTo>
                  <a:pt x="9" y="19"/>
                  <a:pt x="4" y="20"/>
                  <a:pt x="2" y="23"/>
                </a:cubicBezTo>
                <a:cubicBezTo>
                  <a:pt x="0" y="27"/>
                  <a:pt x="2" y="31"/>
                  <a:pt x="5" y="33"/>
                </a:cubicBezTo>
                <a:cubicBezTo>
                  <a:pt x="6" y="34"/>
                  <a:pt x="8" y="34"/>
                  <a:pt x="9" y="34"/>
                </a:cubicBezTo>
                <a:cubicBezTo>
                  <a:pt x="9" y="34"/>
                  <a:pt x="9" y="34"/>
                  <a:pt x="9" y="34"/>
                </a:cubicBezTo>
                <a:cubicBezTo>
                  <a:pt x="14" y="33"/>
                  <a:pt x="17" y="34"/>
                  <a:pt x="20" y="36"/>
                </a:cubicBezTo>
                <a:cubicBezTo>
                  <a:pt x="1" y="69"/>
                  <a:pt x="1" y="69"/>
                  <a:pt x="1" y="69"/>
                </a:cubicBezTo>
                <a:cubicBezTo>
                  <a:pt x="41" y="138"/>
                  <a:pt x="41" y="138"/>
                  <a:pt x="41" y="138"/>
                </a:cubicBezTo>
                <a:cubicBezTo>
                  <a:pt x="121" y="138"/>
                  <a:pt x="121" y="138"/>
                  <a:pt x="121" y="138"/>
                </a:cubicBezTo>
                <a:cubicBezTo>
                  <a:pt x="161" y="69"/>
                  <a:pt x="161" y="69"/>
                  <a:pt x="161" y="69"/>
                </a:cubicBezTo>
                <a:lnTo>
                  <a:pt x="143" y="37"/>
                </a:lnTo>
                <a:close/>
              </a:path>
            </a:pathLst>
          </a:custGeom>
          <a:gradFill flip="none" rotWithShape="1">
            <a:gsLst>
              <a:gs pos="100000">
                <a:srgbClr val="FFFFFF">
                  <a:lumMod val="100000"/>
                </a:srgbClr>
              </a:gs>
              <a:gs pos="0">
                <a:srgbClr val="D9D9DA"/>
              </a:gs>
            </a:gsLst>
            <a:lin ang="2700000" scaled="1"/>
            <a:tileRect/>
          </a:gradFill>
          <a:ln w="19050">
            <a:gradFill flip="none" rotWithShape="1">
              <a:gsLst>
                <a:gs pos="100000">
                  <a:srgbClr val="FFFFFF"/>
                </a:gs>
                <a:gs pos="0">
                  <a:srgbClr val="D9D9DA"/>
                </a:gs>
              </a:gsLst>
              <a:lin ang="13500000" scaled="1"/>
              <a:tileRect/>
            </a:gra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8" name="Freeform 1907">
            <a:extLst>
              <a:ext uri="{FF2B5EF4-FFF2-40B4-BE49-F238E27FC236}">
                <a16:creationId xmlns:a16="http://schemas.microsoft.com/office/drawing/2014/main" id="{64D37FA7-11DE-4383-9286-3F58FAA63D1C}"/>
              </a:ext>
            </a:extLst>
          </p:cNvPr>
          <p:cNvSpPr>
            <a:spLocks/>
          </p:cNvSpPr>
          <p:nvPr/>
        </p:nvSpPr>
        <p:spPr bwMode="auto">
          <a:xfrm>
            <a:off x="6093218" y="3455489"/>
            <a:ext cx="2122518" cy="1819538"/>
          </a:xfrm>
          <a:custGeom>
            <a:avLst/>
            <a:gdLst>
              <a:gd name="T0" fmla="*/ 122 w 162"/>
              <a:gd name="T1" fmla="*/ 0 h 139"/>
              <a:gd name="T2" fmla="*/ 85 w 162"/>
              <a:gd name="T3" fmla="*/ 0 h 139"/>
              <a:gd name="T4" fmla="*/ 87 w 162"/>
              <a:gd name="T5" fmla="*/ 5 h 139"/>
              <a:gd name="T6" fmla="*/ 88 w 162"/>
              <a:gd name="T7" fmla="*/ 7 h 139"/>
              <a:gd name="T8" fmla="*/ 89 w 162"/>
              <a:gd name="T9" fmla="*/ 8 h 139"/>
              <a:gd name="T10" fmla="*/ 89 w 162"/>
              <a:gd name="T11" fmla="*/ 11 h 139"/>
              <a:gd name="T12" fmla="*/ 80 w 162"/>
              <a:gd name="T13" fmla="*/ 20 h 139"/>
              <a:gd name="T14" fmla="*/ 71 w 162"/>
              <a:gd name="T15" fmla="*/ 11 h 139"/>
              <a:gd name="T16" fmla="*/ 71 w 162"/>
              <a:gd name="T17" fmla="*/ 9 h 139"/>
              <a:gd name="T18" fmla="*/ 72 w 162"/>
              <a:gd name="T19" fmla="*/ 7 h 139"/>
              <a:gd name="T20" fmla="*/ 73 w 162"/>
              <a:gd name="T21" fmla="*/ 5 h 139"/>
              <a:gd name="T22" fmla="*/ 75 w 162"/>
              <a:gd name="T23" fmla="*/ 0 h 139"/>
              <a:gd name="T24" fmla="*/ 42 w 162"/>
              <a:gd name="T25" fmla="*/ 0 h 139"/>
              <a:gd name="T26" fmla="*/ 25 w 162"/>
              <a:gd name="T27" fmla="*/ 30 h 139"/>
              <a:gd name="T28" fmla="*/ 25 w 162"/>
              <a:gd name="T29" fmla="*/ 30 h 139"/>
              <a:gd name="T30" fmla="*/ 28 w 162"/>
              <a:gd name="T31" fmla="*/ 30 h 139"/>
              <a:gd name="T32" fmla="*/ 30 w 162"/>
              <a:gd name="T33" fmla="*/ 30 h 139"/>
              <a:gd name="T34" fmla="*/ 31 w 162"/>
              <a:gd name="T35" fmla="*/ 31 h 139"/>
              <a:gd name="T36" fmla="*/ 33 w 162"/>
              <a:gd name="T37" fmla="*/ 31 h 139"/>
              <a:gd name="T38" fmla="*/ 37 w 162"/>
              <a:gd name="T39" fmla="*/ 37 h 139"/>
              <a:gd name="T40" fmla="*/ 36 w 162"/>
              <a:gd name="T41" fmla="*/ 44 h 139"/>
              <a:gd name="T42" fmla="*/ 29 w 162"/>
              <a:gd name="T43" fmla="*/ 48 h 139"/>
              <a:gd name="T44" fmla="*/ 24 w 162"/>
              <a:gd name="T45" fmla="*/ 47 h 139"/>
              <a:gd name="T46" fmla="*/ 23 w 162"/>
              <a:gd name="T47" fmla="*/ 46 h 139"/>
              <a:gd name="T48" fmla="*/ 22 w 162"/>
              <a:gd name="T49" fmla="*/ 45 h 139"/>
              <a:gd name="T50" fmla="*/ 20 w 162"/>
              <a:gd name="T51" fmla="*/ 43 h 139"/>
              <a:gd name="T52" fmla="*/ 19 w 162"/>
              <a:gd name="T53" fmla="*/ 40 h 139"/>
              <a:gd name="T54" fmla="*/ 2 w 162"/>
              <a:gd name="T55" fmla="*/ 70 h 139"/>
              <a:gd name="T56" fmla="*/ 21 w 162"/>
              <a:gd name="T57" fmla="*/ 102 h 139"/>
              <a:gd name="T58" fmla="*/ 9 w 162"/>
              <a:gd name="T59" fmla="*/ 104 h 139"/>
              <a:gd name="T60" fmla="*/ 9 w 162"/>
              <a:gd name="T61" fmla="*/ 104 h 139"/>
              <a:gd name="T62" fmla="*/ 5 w 162"/>
              <a:gd name="T63" fmla="*/ 105 h 139"/>
              <a:gd name="T64" fmla="*/ 2 w 162"/>
              <a:gd name="T65" fmla="*/ 115 h 139"/>
              <a:gd name="T66" fmla="*/ 12 w 162"/>
              <a:gd name="T67" fmla="*/ 117 h 139"/>
              <a:gd name="T68" fmla="*/ 15 w 162"/>
              <a:gd name="T69" fmla="*/ 114 h 139"/>
              <a:gd name="T70" fmla="*/ 15 w 162"/>
              <a:gd name="T71" fmla="*/ 114 h 139"/>
              <a:gd name="T72" fmla="*/ 23 w 162"/>
              <a:gd name="T73" fmla="*/ 106 h 139"/>
              <a:gd name="T74" fmla="*/ 42 w 162"/>
              <a:gd name="T75" fmla="*/ 139 h 139"/>
              <a:gd name="T76" fmla="*/ 122 w 162"/>
              <a:gd name="T77" fmla="*/ 139 h 139"/>
              <a:gd name="T78" fmla="*/ 162 w 162"/>
              <a:gd name="T79" fmla="*/ 70 h 139"/>
              <a:gd name="T80" fmla="*/ 122 w 162"/>
              <a:gd name="T81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2" h="139">
                <a:moveTo>
                  <a:pt x="122" y="0"/>
                </a:moveTo>
                <a:cubicBezTo>
                  <a:pt x="85" y="0"/>
                  <a:pt x="85" y="0"/>
                  <a:pt x="85" y="0"/>
                </a:cubicBezTo>
                <a:cubicBezTo>
                  <a:pt x="85" y="2"/>
                  <a:pt x="86" y="4"/>
                  <a:pt x="87" y="5"/>
                </a:cubicBezTo>
                <a:cubicBezTo>
                  <a:pt x="88" y="7"/>
                  <a:pt x="88" y="7"/>
                  <a:pt x="88" y="7"/>
                </a:cubicBezTo>
                <a:cubicBezTo>
                  <a:pt x="89" y="8"/>
                  <a:pt x="89" y="8"/>
                  <a:pt x="89" y="8"/>
                </a:cubicBezTo>
                <a:cubicBezTo>
                  <a:pt x="89" y="9"/>
                  <a:pt x="89" y="10"/>
                  <a:pt x="89" y="11"/>
                </a:cubicBezTo>
                <a:cubicBezTo>
                  <a:pt x="89" y="16"/>
                  <a:pt x="85" y="20"/>
                  <a:pt x="80" y="20"/>
                </a:cubicBezTo>
                <a:cubicBezTo>
                  <a:pt x="75" y="20"/>
                  <a:pt x="71" y="16"/>
                  <a:pt x="71" y="11"/>
                </a:cubicBezTo>
                <a:cubicBezTo>
                  <a:pt x="71" y="10"/>
                  <a:pt x="71" y="9"/>
                  <a:pt x="71" y="9"/>
                </a:cubicBezTo>
                <a:cubicBezTo>
                  <a:pt x="72" y="7"/>
                  <a:pt x="72" y="7"/>
                  <a:pt x="72" y="7"/>
                </a:cubicBezTo>
                <a:cubicBezTo>
                  <a:pt x="73" y="5"/>
                  <a:pt x="73" y="5"/>
                  <a:pt x="73" y="5"/>
                </a:cubicBezTo>
                <a:cubicBezTo>
                  <a:pt x="74" y="4"/>
                  <a:pt x="75" y="2"/>
                  <a:pt x="75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25" y="30"/>
                  <a:pt x="25" y="30"/>
                  <a:pt x="25" y="30"/>
                </a:cubicBezTo>
                <a:cubicBezTo>
                  <a:pt x="25" y="30"/>
                  <a:pt x="25" y="30"/>
                  <a:pt x="25" y="30"/>
                </a:cubicBezTo>
                <a:cubicBezTo>
                  <a:pt x="26" y="30"/>
                  <a:pt x="27" y="30"/>
                  <a:pt x="28" y="30"/>
                </a:cubicBezTo>
                <a:cubicBezTo>
                  <a:pt x="30" y="30"/>
                  <a:pt x="30" y="30"/>
                  <a:pt x="30" y="30"/>
                </a:cubicBezTo>
                <a:cubicBezTo>
                  <a:pt x="31" y="31"/>
                  <a:pt x="31" y="31"/>
                  <a:pt x="31" y="31"/>
                </a:cubicBezTo>
                <a:cubicBezTo>
                  <a:pt x="32" y="31"/>
                  <a:pt x="32" y="31"/>
                  <a:pt x="33" y="31"/>
                </a:cubicBezTo>
                <a:cubicBezTo>
                  <a:pt x="35" y="33"/>
                  <a:pt x="37" y="35"/>
                  <a:pt x="37" y="37"/>
                </a:cubicBezTo>
                <a:cubicBezTo>
                  <a:pt x="38" y="39"/>
                  <a:pt x="38" y="42"/>
                  <a:pt x="36" y="44"/>
                </a:cubicBezTo>
                <a:cubicBezTo>
                  <a:pt x="35" y="46"/>
                  <a:pt x="32" y="48"/>
                  <a:pt x="29" y="48"/>
                </a:cubicBezTo>
                <a:cubicBezTo>
                  <a:pt x="27" y="48"/>
                  <a:pt x="25" y="48"/>
                  <a:pt x="24" y="47"/>
                </a:cubicBezTo>
                <a:cubicBezTo>
                  <a:pt x="24" y="47"/>
                  <a:pt x="23" y="46"/>
                  <a:pt x="23" y="46"/>
                </a:cubicBezTo>
                <a:cubicBezTo>
                  <a:pt x="22" y="45"/>
                  <a:pt x="22" y="45"/>
                  <a:pt x="22" y="45"/>
                </a:cubicBezTo>
                <a:cubicBezTo>
                  <a:pt x="20" y="43"/>
                  <a:pt x="20" y="43"/>
                  <a:pt x="20" y="43"/>
                </a:cubicBezTo>
                <a:cubicBezTo>
                  <a:pt x="20" y="42"/>
                  <a:pt x="19" y="41"/>
                  <a:pt x="19" y="40"/>
                </a:cubicBezTo>
                <a:cubicBezTo>
                  <a:pt x="2" y="70"/>
                  <a:pt x="2" y="70"/>
                  <a:pt x="2" y="70"/>
                </a:cubicBezTo>
                <a:cubicBezTo>
                  <a:pt x="21" y="102"/>
                  <a:pt x="21" y="102"/>
                  <a:pt x="21" y="102"/>
                </a:cubicBezTo>
                <a:cubicBezTo>
                  <a:pt x="18" y="104"/>
                  <a:pt x="14" y="105"/>
                  <a:pt x="9" y="104"/>
                </a:cubicBezTo>
                <a:cubicBezTo>
                  <a:pt x="9" y="104"/>
                  <a:pt x="9" y="104"/>
                  <a:pt x="9" y="104"/>
                </a:cubicBezTo>
                <a:cubicBezTo>
                  <a:pt x="8" y="104"/>
                  <a:pt x="6" y="105"/>
                  <a:pt x="5" y="105"/>
                </a:cubicBezTo>
                <a:cubicBezTo>
                  <a:pt x="2" y="107"/>
                  <a:pt x="0" y="112"/>
                  <a:pt x="2" y="115"/>
                </a:cubicBezTo>
                <a:cubicBezTo>
                  <a:pt x="4" y="118"/>
                  <a:pt x="9" y="119"/>
                  <a:pt x="12" y="117"/>
                </a:cubicBezTo>
                <a:cubicBezTo>
                  <a:pt x="13" y="117"/>
                  <a:pt x="14" y="116"/>
                  <a:pt x="15" y="114"/>
                </a:cubicBezTo>
                <a:cubicBezTo>
                  <a:pt x="15" y="114"/>
                  <a:pt x="15" y="114"/>
                  <a:pt x="15" y="114"/>
                </a:cubicBezTo>
                <a:cubicBezTo>
                  <a:pt x="17" y="110"/>
                  <a:pt x="19" y="107"/>
                  <a:pt x="23" y="106"/>
                </a:cubicBezTo>
                <a:cubicBezTo>
                  <a:pt x="42" y="139"/>
                  <a:pt x="42" y="139"/>
                  <a:pt x="42" y="139"/>
                </a:cubicBezTo>
                <a:cubicBezTo>
                  <a:pt x="122" y="139"/>
                  <a:pt x="122" y="139"/>
                  <a:pt x="122" y="139"/>
                </a:cubicBezTo>
                <a:cubicBezTo>
                  <a:pt x="162" y="70"/>
                  <a:pt x="162" y="70"/>
                  <a:pt x="162" y="70"/>
                </a:cubicBezTo>
                <a:lnTo>
                  <a:pt x="122" y="0"/>
                </a:lnTo>
                <a:close/>
              </a:path>
            </a:pathLst>
          </a:custGeom>
          <a:gradFill flip="none" rotWithShape="1">
            <a:gsLst>
              <a:gs pos="100000">
                <a:srgbClr val="1D8DE5"/>
              </a:gs>
              <a:gs pos="0">
                <a:srgbClr val="007BB5"/>
              </a:gs>
            </a:gsLst>
            <a:lin ang="2700000" scaled="1"/>
            <a:tileRect/>
          </a:gradFill>
          <a:ln w="19050">
            <a:gradFill flip="none" rotWithShape="1">
              <a:gsLst>
                <a:gs pos="100000">
                  <a:srgbClr val="1D8DE5"/>
                </a:gs>
                <a:gs pos="0">
                  <a:srgbClr val="007BB5"/>
                </a:gs>
              </a:gsLst>
              <a:lin ang="13500000" scaled="1"/>
              <a:tileRect/>
            </a:gra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Freeform 1917">
            <a:extLst>
              <a:ext uri="{FF2B5EF4-FFF2-40B4-BE49-F238E27FC236}">
                <a16:creationId xmlns:a16="http://schemas.microsoft.com/office/drawing/2014/main" id="{C3D97E65-621C-48AB-BF73-3F95A253436E}"/>
              </a:ext>
            </a:extLst>
          </p:cNvPr>
          <p:cNvSpPr>
            <a:spLocks/>
          </p:cNvSpPr>
          <p:nvPr/>
        </p:nvSpPr>
        <p:spPr bwMode="auto">
          <a:xfrm>
            <a:off x="6106463" y="1582971"/>
            <a:ext cx="2096028" cy="2107617"/>
          </a:xfrm>
          <a:custGeom>
            <a:avLst/>
            <a:gdLst>
              <a:gd name="T0" fmla="*/ 120 w 160"/>
              <a:gd name="T1" fmla="*/ 139 h 161"/>
              <a:gd name="T2" fmla="*/ 160 w 160"/>
              <a:gd name="T3" fmla="*/ 69 h 161"/>
              <a:gd name="T4" fmla="*/ 120 w 160"/>
              <a:gd name="T5" fmla="*/ 0 h 161"/>
              <a:gd name="T6" fmla="*/ 40 w 160"/>
              <a:gd name="T7" fmla="*/ 0 h 161"/>
              <a:gd name="T8" fmla="*/ 22 w 160"/>
              <a:gd name="T9" fmla="*/ 32 h 161"/>
              <a:gd name="T10" fmla="*/ 24 w 160"/>
              <a:gd name="T11" fmla="*/ 32 h 161"/>
              <a:gd name="T12" fmla="*/ 27 w 160"/>
              <a:gd name="T13" fmla="*/ 32 h 161"/>
              <a:gd name="T14" fmla="*/ 28 w 160"/>
              <a:gd name="T15" fmla="*/ 32 h 161"/>
              <a:gd name="T16" fmla="*/ 30 w 160"/>
              <a:gd name="T17" fmla="*/ 33 h 161"/>
              <a:gd name="T18" fmla="*/ 32 w 160"/>
              <a:gd name="T19" fmla="*/ 33 h 161"/>
              <a:gd name="T20" fmla="*/ 36 w 160"/>
              <a:gd name="T21" fmla="*/ 39 h 161"/>
              <a:gd name="T22" fmla="*/ 35 w 160"/>
              <a:gd name="T23" fmla="*/ 46 h 161"/>
              <a:gd name="T24" fmla="*/ 28 w 160"/>
              <a:gd name="T25" fmla="*/ 50 h 161"/>
              <a:gd name="T26" fmla="*/ 23 w 160"/>
              <a:gd name="T27" fmla="*/ 49 h 161"/>
              <a:gd name="T28" fmla="*/ 21 w 160"/>
              <a:gd name="T29" fmla="*/ 48 h 161"/>
              <a:gd name="T30" fmla="*/ 20 w 160"/>
              <a:gd name="T31" fmla="*/ 47 h 161"/>
              <a:gd name="T32" fmla="*/ 19 w 160"/>
              <a:gd name="T33" fmla="*/ 45 h 161"/>
              <a:gd name="T34" fmla="*/ 17 w 160"/>
              <a:gd name="T35" fmla="*/ 41 h 161"/>
              <a:gd name="T36" fmla="*/ 0 w 160"/>
              <a:gd name="T37" fmla="*/ 69 h 161"/>
              <a:gd name="T38" fmla="*/ 18 w 160"/>
              <a:gd name="T39" fmla="*/ 99 h 161"/>
              <a:gd name="T40" fmla="*/ 19 w 160"/>
              <a:gd name="T41" fmla="*/ 96 h 161"/>
              <a:gd name="T42" fmla="*/ 21 w 160"/>
              <a:gd name="T43" fmla="*/ 94 h 161"/>
              <a:gd name="T44" fmla="*/ 21 w 160"/>
              <a:gd name="T45" fmla="*/ 93 h 161"/>
              <a:gd name="T46" fmla="*/ 23 w 160"/>
              <a:gd name="T47" fmla="*/ 92 h 161"/>
              <a:gd name="T48" fmla="*/ 28 w 160"/>
              <a:gd name="T49" fmla="*/ 91 h 161"/>
              <a:gd name="T50" fmla="*/ 35 w 160"/>
              <a:gd name="T51" fmla="*/ 95 h 161"/>
              <a:gd name="T52" fmla="*/ 36 w 160"/>
              <a:gd name="T53" fmla="*/ 102 h 161"/>
              <a:gd name="T54" fmla="*/ 32 w 160"/>
              <a:gd name="T55" fmla="*/ 108 h 161"/>
              <a:gd name="T56" fmla="*/ 31 w 160"/>
              <a:gd name="T57" fmla="*/ 108 h 161"/>
              <a:gd name="T58" fmla="*/ 29 w 160"/>
              <a:gd name="T59" fmla="*/ 109 h 161"/>
              <a:gd name="T60" fmla="*/ 27 w 160"/>
              <a:gd name="T61" fmla="*/ 109 h 161"/>
              <a:gd name="T62" fmla="*/ 24 w 160"/>
              <a:gd name="T63" fmla="*/ 109 h 161"/>
              <a:gd name="T64" fmla="*/ 23 w 160"/>
              <a:gd name="T65" fmla="*/ 109 h 161"/>
              <a:gd name="T66" fmla="*/ 40 w 160"/>
              <a:gd name="T67" fmla="*/ 139 h 161"/>
              <a:gd name="T68" fmla="*/ 77 w 160"/>
              <a:gd name="T69" fmla="*/ 139 h 161"/>
              <a:gd name="T70" fmla="*/ 73 w 160"/>
              <a:gd name="T71" fmla="*/ 150 h 161"/>
              <a:gd name="T72" fmla="*/ 73 w 160"/>
              <a:gd name="T73" fmla="*/ 150 h 161"/>
              <a:gd name="T74" fmla="*/ 72 w 160"/>
              <a:gd name="T75" fmla="*/ 154 h 161"/>
              <a:gd name="T76" fmla="*/ 79 w 160"/>
              <a:gd name="T77" fmla="*/ 161 h 161"/>
              <a:gd name="T78" fmla="*/ 86 w 160"/>
              <a:gd name="T79" fmla="*/ 154 h 161"/>
              <a:gd name="T80" fmla="*/ 85 w 160"/>
              <a:gd name="T81" fmla="*/ 150 h 161"/>
              <a:gd name="T82" fmla="*/ 85 w 160"/>
              <a:gd name="T83" fmla="*/ 150 h 161"/>
              <a:gd name="T84" fmla="*/ 81 w 160"/>
              <a:gd name="T85" fmla="*/ 139 h 161"/>
              <a:gd name="T86" fmla="*/ 120 w 160"/>
              <a:gd name="T87" fmla="*/ 139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60" h="161">
                <a:moveTo>
                  <a:pt x="120" y="139"/>
                </a:moveTo>
                <a:cubicBezTo>
                  <a:pt x="160" y="69"/>
                  <a:pt x="160" y="69"/>
                  <a:pt x="160" y="69"/>
                </a:cubicBezTo>
                <a:cubicBezTo>
                  <a:pt x="120" y="0"/>
                  <a:pt x="120" y="0"/>
                  <a:pt x="120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22" y="32"/>
                  <a:pt x="22" y="32"/>
                  <a:pt x="22" y="32"/>
                </a:cubicBezTo>
                <a:cubicBezTo>
                  <a:pt x="22" y="32"/>
                  <a:pt x="23" y="32"/>
                  <a:pt x="24" y="32"/>
                </a:cubicBezTo>
                <a:cubicBezTo>
                  <a:pt x="25" y="32"/>
                  <a:pt x="26" y="32"/>
                  <a:pt x="27" y="32"/>
                </a:cubicBezTo>
                <a:cubicBezTo>
                  <a:pt x="28" y="32"/>
                  <a:pt x="28" y="32"/>
                  <a:pt x="28" y="32"/>
                </a:cubicBezTo>
                <a:cubicBezTo>
                  <a:pt x="30" y="33"/>
                  <a:pt x="30" y="33"/>
                  <a:pt x="30" y="33"/>
                </a:cubicBezTo>
                <a:cubicBezTo>
                  <a:pt x="31" y="33"/>
                  <a:pt x="31" y="33"/>
                  <a:pt x="32" y="33"/>
                </a:cubicBezTo>
                <a:cubicBezTo>
                  <a:pt x="34" y="35"/>
                  <a:pt x="36" y="37"/>
                  <a:pt x="36" y="39"/>
                </a:cubicBezTo>
                <a:cubicBezTo>
                  <a:pt x="37" y="41"/>
                  <a:pt x="37" y="44"/>
                  <a:pt x="35" y="46"/>
                </a:cubicBezTo>
                <a:cubicBezTo>
                  <a:pt x="34" y="49"/>
                  <a:pt x="31" y="50"/>
                  <a:pt x="28" y="50"/>
                </a:cubicBezTo>
                <a:cubicBezTo>
                  <a:pt x="26" y="50"/>
                  <a:pt x="24" y="50"/>
                  <a:pt x="23" y="49"/>
                </a:cubicBezTo>
                <a:cubicBezTo>
                  <a:pt x="22" y="49"/>
                  <a:pt x="22" y="48"/>
                  <a:pt x="21" y="48"/>
                </a:cubicBezTo>
                <a:cubicBezTo>
                  <a:pt x="20" y="47"/>
                  <a:pt x="20" y="47"/>
                  <a:pt x="20" y="47"/>
                </a:cubicBezTo>
                <a:cubicBezTo>
                  <a:pt x="19" y="45"/>
                  <a:pt x="19" y="45"/>
                  <a:pt x="19" y="45"/>
                </a:cubicBezTo>
                <a:cubicBezTo>
                  <a:pt x="19" y="43"/>
                  <a:pt x="18" y="42"/>
                  <a:pt x="17" y="41"/>
                </a:cubicBezTo>
                <a:cubicBezTo>
                  <a:pt x="0" y="69"/>
                  <a:pt x="0" y="69"/>
                  <a:pt x="0" y="69"/>
                </a:cubicBezTo>
                <a:cubicBezTo>
                  <a:pt x="18" y="99"/>
                  <a:pt x="18" y="99"/>
                  <a:pt x="18" y="99"/>
                </a:cubicBezTo>
                <a:cubicBezTo>
                  <a:pt x="18" y="99"/>
                  <a:pt x="19" y="97"/>
                  <a:pt x="19" y="96"/>
                </a:cubicBezTo>
                <a:cubicBezTo>
                  <a:pt x="21" y="94"/>
                  <a:pt x="21" y="94"/>
                  <a:pt x="21" y="94"/>
                </a:cubicBezTo>
                <a:cubicBezTo>
                  <a:pt x="21" y="93"/>
                  <a:pt x="21" y="93"/>
                  <a:pt x="21" y="93"/>
                </a:cubicBezTo>
                <a:cubicBezTo>
                  <a:pt x="22" y="93"/>
                  <a:pt x="23" y="92"/>
                  <a:pt x="23" y="92"/>
                </a:cubicBezTo>
                <a:cubicBezTo>
                  <a:pt x="24" y="91"/>
                  <a:pt x="26" y="91"/>
                  <a:pt x="28" y="91"/>
                </a:cubicBezTo>
                <a:cubicBezTo>
                  <a:pt x="31" y="91"/>
                  <a:pt x="34" y="93"/>
                  <a:pt x="35" y="95"/>
                </a:cubicBezTo>
                <a:cubicBezTo>
                  <a:pt x="37" y="97"/>
                  <a:pt x="37" y="100"/>
                  <a:pt x="36" y="102"/>
                </a:cubicBezTo>
                <a:cubicBezTo>
                  <a:pt x="36" y="105"/>
                  <a:pt x="34" y="107"/>
                  <a:pt x="32" y="108"/>
                </a:cubicBezTo>
                <a:cubicBezTo>
                  <a:pt x="32" y="108"/>
                  <a:pt x="31" y="108"/>
                  <a:pt x="31" y="108"/>
                </a:cubicBezTo>
                <a:cubicBezTo>
                  <a:pt x="29" y="109"/>
                  <a:pt x="29" y="109"/>
                  <a:pt x="29" y="109"/>
                </a:cubicBezTo>
                <a:cubicBezTo>
                  <a:pt x="27" y="109"/>
                  <a:pt x="27" y="109"/>
                  <a:pt x="27" y="109"/>
                </a:cubicBezTo>
                <a:cubicBezTo>
                  <a:pt x="26" y="109"/>
                  <a:pt x="25" y="109"/>
                  <a:pt x="24" y="109"/>
                </a:cubicBezTo>
                <a:cubicBezTo>
                  <a:pt x="24" y="109"/>
                  <a:pt x="23" y="109"/>
                  <a:pt x="23" y="109"/>
                </a:cubicBezTo>
                <a:cubicBezTo>
                  <a:pt x="40" y="139"/>
                  <a:pt x="40" y="139"/>
                  <a:pt x="40" y="139"/>
                </a:cubicBezTo>
                <a:cubicBezTo>
                  <a:pt x="77" y="139"/>
                  <a:pt x="77" y="139"/>
                  <a:pt x="77" y="139"/>
                </a:cubicBezTo>
                <a:cubicBezTo>
                  <a:pt x="77" y="142"/>
                  <a:pt x="76" y="146"/>
                  <a:pt x="73" y="150"/>
                </a:cubicBezTo>
                <a:cubicBezTo>
                  <a:pt x="73" y="150"/>
                  <a:pt x="73" y="150"/>
                  <a:pt x="73" y="150"/>
                </a:cubicBezTo>
                <a:cubicBezTo>
                  <a:pt x="73" y="151"/>
                  <a:pt x="72" y="152"/>
                  <a:pt x="72" y="154"/>
                </a:cubicBezTo>
                <a:cubicBezTo>
                  <a:pt x="72" y="157"/>
                  <a:pt x="75" y="161"/>
                  <a:pt x="79" y="161"/>
                </a:cubicBezTo>
                <a:cubicBezTo>
                  <a:pt x="83" y="161"/>
                  <a:pt x="86" y="157"/>
                  <a:pt x="86" y="154"/>
                </a:cubicBezTo>
                <a:cubicBezTo>
                  <a:pt x="86" y="152"/>
                  <a:pt x="86" y="151"/>
                  <a:pt x="85" y="150"/>
                </a:cubicBezTo>
                <a:cubicBezTo>
                  <a:pt x="85" y="150"/>
                  <a:pt x="85" y="150"/>
                  <a:pt x="85" y="150"/>
                </a:cubicBezTo>
                <a:cubicBezTo>
                  <a:pt x="82" y="146"/>
                  <a:pt x="81" y="142"/>
                  <a:pt x="81" y="139"/>
                </a:cubicBezTo>
                <a:lnTo>
                  <a:pt x="120" y="139"/>
                </a:lnTo>
                <a:close/>
              </a:path>
            </a:pathLst>
          </a:custGeom>
          <a:gradFill flip="none" rotWithShape="1">
            <a:gsLst>
              <a:gs pos="100000">
                <a:srgbClr val="FFFFFF">
                  <a:lumMod val="100000"/>
                </a:srgbClr>
              </a:gs>
              <a:gs pos="0">
                <a:srgbClr val="D9D9DA"/>
              </a:gs>
            </a:gsLst>
            <a:lin ang="2700000" scaled="1"/>
            <a:tileRect/>
          </a:gradFill>
          <a:ln w="19050">
            <a:gradFill flip="none" rotWithShape="1">
              <a:gsLst>
                <a:gs pos="100000">
                  <a:srgbClr val="FFFFFF"/>
                </a:gs>
                <a:gs pos="0">
                  <a:srgbClr val="D9D9DA"/>
                </a:gs>
              </a:gsLst>
              <a:lin ang="13500000" scaled="1"/>
              <a:tileRect/>
            </a:gra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10" name="Freeform 1927">
            <a:extLst>
              <a:ext uri="{FF2B5EF4-FFF2-40B4-BE49-F238E27FC236}">
                <a16:creationId xmlns:a16="http://schemas.microsoft.com/office/drawing/2014/main" id="{B24067F4-C9D1-4EC6-A04C-6867E74D9C32}"/>
              </a:ext>
            </a:extLst>
          </p:cNvPr>
          <p:cNvSpPr>
            <a:spLocks/>
          </p:cNvSpPr>
          <p:nvPr/>
        </p:nvSpPr>
        <p:spPr bwMode="auto">
          <a:xfrm>
            <a:off x="4482290" y="654163"/>
            <a:ext cx="2096028" cy="1819538"/>
          </a:xfrm>
          <a:custGeom>
            <a:avLst/>
            <a:gdLst>
              <a:gd name="T0" fmla="*/ 155 w 160"/>
              <a:gd name="T1" fmla="*/ 106 h 139"/>
              <a:gd name="T2" fmla="*/ 151 w 160"/>
              <a:gd name="T3" fmla="*/ 105 h 139"/>
              <a:gd name="T4" fmla="*/ 151 w 160"/>
              <a:gd name="T5" fmla="*/ 105 h 139"/>
              <a:gd name="T6" fmla="*/ 140 w 160"/>
              <a:gd name="T7" fmla="*/ 103 h 139"/>
              <a:gd name="T8" fmla="*/ 160 w 160"/>
              <a:gd name="T9" fmla="*/ 69 h 139"/>
              <a:gd name="T10" fmla="*/ 120 w 160"/>
              <a:gd name="T11" fmla="*/ 0 h 139"/>
              <a:gd name="T12" fmla="*/ 40 w 160"/>
              <a:gd name="T13" fmla="*/ 0 h 139"/>
              <a:gd name="T14" fmla="*/ 0 w 160"/>
              <a:gd name="T15" fmla="*/ 69 h 139"/>
              <a:gd name="T16" fmla="*/ 18 w 160"/>
              <a:gd name="T17" fmla="*/ 101 h 139"/>
              <a:gd name="T18" fmla="*/ 20 w 160"/>
              <a:gd name="T19" fmla="*/ 97 h 139"/>
              <a:gd name="T20" fmla="*/ 21 w 160"/>
              <a:gd name="T21" fmla="*/ 95 h 139"/>
              <a:gd name="T22" fmla="*/ 22 w 160"/>
              <a:gd name="T23" fmla="*/ 94 h 139"/>
              <a:gd name="T24" fmla="*/ 24 w 160"/>
              <a:gd name="T25" fmla="*/ 93 h 139"/>
              <a:gd name="T26" fmla="*/ 29 w 160"/>
              <a:gd name="T27" fmla="*/ 92 h 139"/>
              <a:gd name="T28" fmla="*/ 36 w 160"/>
              <a:gd name="T29" fmla="*/ 96 h 139"/>
              <a:gd name="T30" fmla="*/ 37 w 160"/>
              <a:gd name="T31" fmla="*/ 103 h 139"/>
              <a:gd name="T32" fmla="*/ 33 w 160"/>
              <a:gd name="T33" fmla="*/ 108 h 139"/>
              <a:gd name="T34" fmla="*/ 31 w 160"/>
              <a:gd name="T35" fmla="*/ 109 h 139"/>
              <a:gd name="T36" fmla="*/ 30 w 160"/>
              <a:gd name="T37" fmla="*/ 110 h 139"/>
              <a:gd name="T38" fmla="*/ 28 w 160"/>
              <a:gd name="T39" fmla="*/ 110 h 139"/>
              <a:gd name="T40" fmla="*/ 25 w 160"/>
              <a:gd name="T41" fmla="*/ 109 h 139"/>
              <a:gd name="T42" fmla="*/ 23 w 160"/>
              <a:gd name="T43" fmla="*/ 110 h 139"/>
              <a:gd name="T44" fmla="*/ 40 w 160"/>
              <a:gd name="T45" fmla="*/ 139 h 139"/>
              <a:gd name="T46" fmla="*/ 75 w 160"/>
              <a:gd name="T47" fmla="*/ 139 h 139"/>
              <a:gd name="T48" fmla="*/ 73 w 160"/>
              <a:gd name="T49" fmla="*/ 135 h 139"/>
              <a:gd name="T50" fmla="*/ 72 w 160"/>
              <a:gd name="T51" fmla="*/ 133 h 139"/>
              <a:gd name="T52" fmla="*/ 72 w 160"/>
              <a:gd name="T53" fmla="*/ 132 h 139"/>
              <a:gd name="T54" fmla="*/ 71 w 160"/>
              <a:gd name="T55" fmla="*/ 130 h 139"/>
              <a:gd name="T56" fmla="*/ 80 w 160"/>
              <a:gd name="T57" fmla="*/ 121 h 139"/>
              <a:gd name="T58" fmla="*/ 89 w 160"/>
              <a:gd name="T59" fmla="*/ 130 h 139"/>
              <a:gd name="T60" fmla="*/ 89 w 160"/>
              <a:gd name="T61" fmla="*/ 132 h 139"/>
              <a:gd name="T62" fmla="*/ 89 w 160"/>
              <a:gd name="T63" fmla="*/ 133 h 139"/>
              <a:gd name="T64" fmla="*/ 88 w 160"/>
              <a:gd name="T65" fmla="*/ 135 h 139"/>
              <a:gd name="T66" fmla="*/ 85 w 160"/>
              <a:gd name="T67" fmla="*/ 139 h 139"/>
              <a:gd name="T68" fmla="*/ 120 w 160"/>
              <a:gd name="T69" fmla="*/ 139 h 139"/>
              <a:gd name="T70" fmla="*/ 138 w 160"/>
              <a:gd name="T71" fmla="*/ 107 h 139"/>
              <a:gd name="T72" fmla="*/ 145 w 160"/>
              <a:gd name="T73" fmla="*/ 115 h 139"/>
              <a:gd name="T74" fmla="*/ 145 w 160"/>
              <a:gd name="T75" fmla="*/ 115 h 139"/>
              <a:gd name="T76" fmla="*/ 148 w 160"/>
              <a:gd name="T77" fmla="*/ 118 h 139"/>
              <a:gd name="T78" fmla="*/ 158 w 160"/>
              <a:gd name="T79" fmla="*/ 116 h 139"/>
              <a:gd name="T80" fmla="*/ 155 w 160"/>
              <a:gd name="T81" fmla="*/ 106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0" h="139">
                <a:moveTo>
                  <a:pt x="155" y="106"/>
                </a:moveTo>
                <a:cubicBezTo>
                  <a:pt x="154" y="105"/>
                  <a:pt x="152" y="105"/>
                  <a:pt x="151" y="105"/>
                </a:cubicBezTo>
                <a:cubicBezTo>
                  <a:pt x="151" y="105"/>
                  <a:pt x="151" y="105"/>
                  <a:pt x="151" y="105"/>
                </a:cubicBezTo>
                <a:cubicBezTo>
                  <a:pt x="146" y="106"/>
                  <a:pt x="143" y="105"/>
                  <a:pt x="140" y="103"/>
                </a:cubicBezTo>
                <a:cubicBezTo>
                  <a:pt x="160" y="69"/>
                  <a:pt x="160" y="69"/>
                  <a:pt x="160" y="69"/>
                </a:cubicBezTo>
                <a:cubicBezTo>
                  <a:pt x="120" y="0"/>
                  <a:pt x="120" y="0"/>
                  <a:pt x="120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0" y="69"/>
                  <a:pt x="0" y="69"/>
                  <a:pt x="0" y="69"/>
                </a:cubicBezTo>
                <a:cubicBezTo>
                  <a:pt x="18" y="101"/>
                  <a:pt x="18" y="101"/>
                  <a:pt x="18" y="101"/>
                </a:cubicBezTo>
                <a:cubicBezTo>
                  <a:pt x="19" y="100"/>
                  <a:pt x="20" y="99"/>
                  <a:pt x="20" y="97"/>
                </a:cubicBezTo>
                <a:cubicBezTo>
                  <a:pt x="21" y="95"/>
                  <a:pt x="21" y="95"/>
                  <a:pt x="21" y="95"/>
                </a:cubicBezTo>
                <a:cubicBezTo>
                  <a:pt x="22" y="94"/>
                  <a:pt x="22" y="94"/>
                  <a:pt x="22" y="94"/>
                </a:cubicBezTo>
                <a:cubicBezTo>
                  <a:pt x="23" y="94"/>
                  <a:pt x="23" y="93"/>
                  <a:pt x="24" y="93"/>
                </a:cubicBezTo>
                <a:cubicBezTo>
                  <a:pt x="25" y="92"/>
                  <a:pt x="27" y="92"/>
                  <a:pt x="29" y="92"/>
                </a:cubicBezTo>
                <a:cubicBezTo>
                  <a:pt x="32" y="92"/>
                  <a:pt x="35" y="93"/>
                  <a:pt x="36" y="96"/>
                </a:cubicBezTo>
                <a:cubicBezTo>
                  <a:pt x="38" y="98"/>
                  <a:pt x="38" y="101"/>
                  <a:pt x="37" y="103"/>
                </a:cubicBezTo>
                <a:cubicBezTo>
                  <a:pt x="37" y="105"/>
                  <a:pt x="35" y="107"/>
                  <a:pt x="33" y="108"/>
                </a:cubicBezTo>
                <a:cubicBezTo>
                  <a:pt x="32" y="109"/>
                  <a:pt x="32" y="109"/>
                  <a:pt x="31" y="109"/>
                </a:cubicBezTo>
                <a:cubicBezTo>
                  <a:pt x="30" y="110"/>
                  <a:pt x="30" y="110"/>
                  <a:pt x="30" y="110"/>
                </a:cubicBezTo>
                <a:cubicBezTo>
                  <a:pt x="28" y="110"/>
                  <a:pt x="28" y="110"/>
                  <a:pt x="28" y="110"/>
                </a:cubicBezTo>
                <a:cubicBezTo>
                  <a:pt x="27" y="109"/>
                  <a:pt x="26" y="109"/>
                  <a:pt x="25" y="109"/>
                </a:cubicBezTo>
                <a:cubicBezTo>
                  <a:pt x="24" y="109"/>
                  <a:pt x="24" y="109"/>
                  <a:pt x="23" y="110"/>
                </a:cubicBezTo>
                <a:cubicBezTo>
                  <a:pt x="40" y="139"/>
                  <a:pt x="40" y="139"/>
                  <a:pt x="40" y="139"/>
                </a:cubicBezTo>
                <a:cubicBezTo>
                  <a:pt x="75" y="139"/>
                  <a:pt x="75" y="139"/>
                  <a:pt x="75" y="139"/>
                </a:cubicBezTo>
                <a:cubicBezTo>
                  <a:pt x="75" y="137"/>
                  <a:pt x="74" y="136"/>
                  <a:pt x="73" y="135"/>
                </a:cubicBezTo>
                <a:cubicBezTo>
                  <a:pt x="72" y="133"/>
                  <a:pt x="72" y="133"/>
                  <a:pt x="72" y="133"/>
                </a:cubicBezTo>
                <a:cubicBezTo>
                  <a:pt x="72" y="132"/>
                  <a:pt x="72" y="132"/>
                  <a:pt x="72" y="132"/>
                </a:cubicBezTo>
                <a:cubicBezTo>
                  <a:pt x="71" y="131"/>
                  <a:pt x="71" y="130"/>
                  <a:pt x="71" y="130"/>
                </a:cubicBezTo>
                <a:cubicBezTo>
                  <a:pt x="71" y="125"/>
                  <a:pt x="75" y="121"/>
                  <a:pt x="80" y="121"/>
                </a:cubicBezTo>
                <a:cubicBezTo>
                  <a:pt x="85" y="121"/>
                  <a:pt x="89" y="125"/>
                  <a:pt x="89" y="130"/>
                </a:cubicBezTo>
                <a:cubicBezTo>
                  <a:pt x="89" y="130"/>
                  <a:pt x="89" y="131"/>
                  <a:pt x="89" y="132"/>
                </a:cubicBezTo>
                <a:cubicBezTo>
                  <a:pt x="89" y="133"/>
                  <a:pt x="89" y="133"/>
                  <a:pt x="89" y="133"/>
                </a:cubicBezTo>
                <a:cubicBezTo>
                  <a:pt x="88" y="135"/>
                  <a:pt x="88" y="135"/>
                  <a:pt x="88" y="135"/>
                </a:cubicBezTo>
                <a:cubicBezTo>
                  <a:pt x="87" y="136"/>
                  <a:pt x="86" y="137"/>
                  <a:pt x="85" y="139"/>
                </a:cubicBezTo>
                <a:cubicBezTo>
                  <a:pt x="120" y="139"/>
                  <a:pt x="120" y="139"/>
                  <a:pt x="120" y="139"/>
                </a:cubicBezTo>
                <a:cubicBezTo>
                  <a:pt x="138" y="107"/>
                  <a:pt x="138" y="107"/>
                  <a:pt x="138" y="107"/>
                </a:cubicBezTo>
                <a:cubicBezTo>
                  <a:pt x="141" y="108"/>
                  <a:pt x="143" y="111"/>
                  <a:pt x="145" y="115"/>
                </a:cubicBezTo>
                <a:cubicBezTo>
                  <a:pt x="145" y="115"/>
                  <a:pt x="145" y="115"/>
                  <a:pt x="145" y="115"/>
                </a:cubicBezTo>
                <a:cubicBezTo>
                  <a:pt x="146" y="116"/>
                  <a:pt x="147" y="118"/>
                  <a:pt x="148" y="118"/>
                </a:cubicBezTo>
                <a:cubicBezTo>
                  <a:pt x="151" y="120"/>
                  <a:pt x="156" y="119"/>
                  <a:pt x="158" y="116"/>
                </a:cubicBezTo>
                <a:cubicBezTo>
                  <a:pt x="160" y="112"/>
                  <a:pt x="158" y="108"/>
                  <a:pt x="155" y="106"/>
                </a:cubicBezTo>
                <a:close/>
              </a:path>
            </a:pathLst>
          </a:custGeom>
          <a:gradFill flip="none" rotWithShape="1">
            <a:gsLst>
              <a:gs pos="100000">
                <a:srgbClr val="1D8DE5"/>
              </a:gs>
              <a:gs pos="0">
                <a:srgbClr val="007BB5"/>
              </a:gs>
            </a:gsLst>
            <a:lin ang="2700000" scaled="1"/>
            <a:tileRect/>
          </a:gradFill>
          <a:ln w="19050">
            <a:gradFill flip="none" rotWithShape="1">
              <a:gsLst>
                <a:gs pos="100000">
                  <a:srgbClr val="1D8DE5"/>
                </a:gs>
                <a:gs pos="0">
                  <a:srgbClr val="007BB5"/>
                </a:gs>
              </a:gsLst>
              <a:lin ang="13500000" scaled="1"/>
              <a:tileRect/>
            </a:gra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A3A20EE3-C88E-43AD-854D-9F9C33EC06D5}"/>
              </a:ext>
            </a:extLst>
          </p:cNvPr>
          <p:cNvSpPr txBox="1"/>
          <p:nvPr/>
        </p:nvSpPr>
        <p:spPr>
          <a:xfrm>
            <a:off x="3649726" y="1858081"/>
            <a:ext cx="5277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>
                <a:solidFill>
                  <a:srgbClr val="1D8DE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6</a:t>
            </a:r>
            <a:endParaRPr lang="zh-CN" altLang="en-US" sz="2400" dirty="0">
              <a:solidFill>
                <a:srgbClr val="1D8DE5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4E678DD8-D3F5-4FCE-8D41-2ECF1B07490E}"/>
              </a:ext>
            </a:extLst>
          </p:cNvPr>
          <p:cNvSpPr txBox="1"/>
          <p:nvPr/>
        </p:nvSpPr>
        <p:spPr>
          <a:xfrm>
            <a:off x="2987685" y="2297544"/>
            <a:ext cx="1851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1D8DE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Some Title Here</a:t>
            </a:r>
            <a:endParaRPr lang="zh-CN" altLang="en-US" dirty="0">
              <a:solidFill>
                <a:srgbClr val="1D8DE5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A2E0CA34-7079-4855-8D0A-D299F2A070F6}"/>
              </a:ext>
            </a:extLst>
          </p:cNvPr>
          <p:cNvSpPr txBox="1"/>
          <p:nvPr/>
        </p:nvSpPr>
        <p:spPr>
          <a:xfrm>
            <a:off x="6917956" y="1858081"/>
            <a:ext cx="5277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>
                <a:solidFill>
                  <a:srgbClr val="1D8DE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2</a:t>
            </a:r>
            <a:endParaRPr lang="zh-CN" altLang="en-US" sz="2400" dirty="0">
              <a:solidFill>
                <a:srgbClr val="1D8DE5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F50F6ED3-4590-4DEC-9D0D-8910A10D5C39}"/>
              </a:ext>
            </a:extLst>
          </p:cNvPr>
          <p:cNvSpPr txBox="1"/>
          <p:nvPr/>
        </p:nvSpPr>
        <p:spPr>
          <a:xfrm>
            <a:off x="6255915" y="2297544"/>
            <a:ext cx="1851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1D8DE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Some Title Here</a:t>
            </a:r>
            <a:endParaRPr lang="zh-CN" altLang="en-US" dirty="0">
              <a:solidFill>
                <a:srgbClr val="1D8DE5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C696DF64-525C-4BDE-B8B2-A4482B6A83A6}"/>
              </a:ext>
            </a:extLst>
          </p:cNvPr>
          <p:cNvSpPr txBox="1"/>
          <p:nvPr/>
        </p:nvSpPr>
        <p:spPr>
          <a:xfrm>
            <a:off x="5311546" y="4692263"/>
            <a:ext cx="5277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>
                <a:solidFill>
                  <a:srgbClr val="1D8DE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4</a:t>
            </a:r>
            <a:endParaRPr lang="zh-CN" altLang="en-US" sz="2400" dirty="0">
              <a:solidFill>
                <a:srgbClr val="1D8DE5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AF758BF4-A5F3-44BB-9731-834CD6EE6A4A}"/>
              </a:ext>
            </a:extLst>
          </p:cNvPr>
          <p:cNvSpPr txBox="1"/>
          <p:nvPr/>
        </p:nvSpPr>
        <p:spPr>
          <a:xfrm>
            <a:off x="4649505" y="5131726"/>
            <a:ext cx="1851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1D8DE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Some Title Here</a:t>
            </a:r>
            <a:endParaRPr lang="zh-CN" altLang="en-US" dirty="0">
              <a:solidFill>
                <a:srgbClr val="1D8DE5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C5CB1F89-3B83-4CD2-9970-2C187A5226F9}"/>
              </a:ext>
            </a:extLst>
          </p:cNvPr>
          <p:cNvSpPr txBox="1"/>
          <p:nvPr/>
        </p:nvSpPr>
        <p:spPr>
          <a:xfrm>
            <a:off x="3683606" y="3777351"/>
            <a:ext cx="5277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5</a:t>
            </a:r>
            <a:endParaRPr lang="zh-CN" altLang="en-US" sz="2400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3DC8E0F4-0EA5-4735-BF0E-CF1054A12A07}"/>
              </a:ext>
            </a:extLst>
          </p:cNvPr>
          <p:cNvSpPr txBox="1"/>
          <p:nvPr/>
        </p:nvSpPr>
        <p:spPr>
          <a:xfrm>
            <a:off x="3021565" y="4216814"/>
            <a:ext cx="1851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Some Title Here</a:t>
            </a:r>
            <a:endParaRPr lang="zh-CN" altLang="en-US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232A143F-86B1-4E81-9375-83FF7385C573}"/>
              </a:ext>
            </a:extLst>
          </p:cNvPr>
          <p:cNvSpPr txBox="1"/>
          <p:nvPr/>
        </p:nvSpPr>
        <p:spPr>
          <a:xfrm>
            <a:off x="6875783" y="3777351"/>
            <a:ext cx="5277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3</a:t>
            </a:r>
            <a:endParaRPr lang="zh-CN" altLang="en-US" sz="2400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B94C71CE-518F-4DD9-8A3E-4EFF22591A08}"/>
              </a:ext>
            </a:extLst>
          </p:cNvPr>
          <p:cNvSpPr txBox="1"/>
          <p:nvPr/>
        </p:nvSpPr>
        <p:spPr>
          <a:xfrm>
            <a:off x="6213742" y="4216814"/>
            <a:ext cx="1851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Some Title Here</a:t>
            </a:r>
            <a:endParaRPr lang="zh-CN" altLang="en-US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4D136A10-9727-4A33-8D90-41C01352FA47}"/>
              </a:ext>
            </a:extLst>
          </p:cNvPr>
          <p:cNvSpPr txBox="1"/>
          <p:nvPr/>
        </p:nvSpPr>
        <p:spPr>
          <a:xfrm>
            <a:off x="5272245" y="960455"/>
            <a:ext cx="5277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1</a:t>
            </a:r>
            <a:endParaRPr lang="zh-CN" altLang="en-US" sz="2400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E2DC11F5-C24D-4790-A5B7-6282F99B5E19}"/>
              </a:ext>
            </a:extLst>
          </p:cNvPr>
          <p:cNvSpPr txBox="1"/>
          <p:nvPr/>
        </p:nvSpPr>
        <p:spPr>
          <a:xfrm>
            <a:off x="4610204" y="1399918"/>
            <a:ext cx="1851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Some Title Here</a:t>
            </a:r>
            <a:endParaRPr lang="zh-CN" altLang="en-US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AC80CB70-661B-4ED2-89EA-8D90FF8E7388}"/>
              </a:ext>
            </a:extLst>
          </p:cNvPr>
          <p:cNvSpPr txBox="1"/>
          <p:nvPr/>
        </p:nvSpPr>
        <p:spPr>
          <a:xfrm>
            <a:off x="4590729" y="3227221"/>
            <a:ext cx="1851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1D8DE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Some Title Here</a:t>
            </a:r>
            <a:endParaRPr lang="zh-CN" altLang="en-US" dirty="0">
              <a:solidFill>
                <a:srgbClr val="1D8DE5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86531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782</TotalTime>
  <Words>319</Words>
  <Application>Microsoft Office PowerPoint</Application>
  <PresentationFormat>宽屏</PresentationFormat>
  <Paragraphs>111</Paragraphs>
  <Slides>11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9" baseType="lpstr">
      <vt:lpstr>Arial Unicode MS</vt:lpstr>
      <vt:lpstr>Fira Sans SemiBold Italic</vt:lpstr>
      <vt:lpstr>Modern Pictograms</vt:lpstr>
      <vt:lpstr>Sosa</vt:lpstr>
      <vt:lpstr>等线</vt:lpstr>
      <vt:lpstr>等线 Light</vt:lpstr>
      <vt:lpstr>华文中宋</vt:lpstr>
      <vt:lpstr>思源黑体 CN Medium</vt:lpstr>
      <vt:lpstr>思源黑体 CN Normal</vt:lpstr>
      <vt:lpstr>宋体</vt:lpstr>
      <vt:lpstr>Arial</vt:lpstr>
      <vt:lpstr>Calibri</vt:lpstr>
      <vt:lpstr>Calibri Light</vt:lpstr>
      <vt:lpstr>Lucida Sans Unicode</vt:lpstr>
      <vt:lpstr>Roboto</vt:lpstr>
      <vt:lpstr>Office 主题​​</vt:lpstr>
      <vt:lpstr>2_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i Notag</dc:creator>
  <cp:lastModifiedBy>Administrator</cp:lastModifiedBy>
  <cp:revision>126</cp:revision>
  <dcterms:created xsi:type="dcterms:W3CDTF">2018-08-23T10:08:30Z</dcterms:created>
  <dcterms:modified xsi:type="dcterms:W3CDTF">2018-11-11T19:28:53Z</dcterms:modified>
</cp:coreProperties>
</file>